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4"/>
    <p:sldMasterId id="2147483735" r:id="rId5"/>
  </p:sldMasterIdLst>
  <p:notesMasterIdLst>
    <p:notesMasterId r:id="rId8"/>
  </p:notesMasterIdLst>
  <p:handoutMasterIdLst>
    <p:handoutMasterId r:id="rId9"/>
  </p:handoutMasterIdLst>
  <p:sldIdLst>
    <p:sldId id="12794" r:id="rId6"/>
    <p:sldId id="13223" r:id="rId7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5F4FF"/>
    <a:srgbClr val="2FC9FF"/>
    <a:srgbClr val="CFE6F2"/>
    <a:srgbClr val="0079A4"/>
    <a:srgbClr val="70AD47"/>
    <a:srgbClr val="0070C0"/>
    <a:srgbClr val="F2F2F2"/>
    <a:srgbClr val="EBF5F6"/>
    <a:srgbClr val="DAE3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785D151-B007-4A62-9C76-33D884F494F0}" v="1" dt="2025-07-25T08:31:08.913"/>
    <p1510:client id="{F2B58040-DA15-4A12-91A2-13E34BD1C915}" v="2" dt="2025-07-24T13:03:51.4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88" autoAdjust="0"/>
    <p:restoredTop sz="94660"/>
  </p:normalViewPr>
  <p:slideViewPr>
    <p:cSldViewPr snapToGrid="0">
      <p:cViewPr varScale="1">
        <p:scale>
          <a:sx n="99" d="100"/>
          <a:sy n="99" d="100"/>
        </p:scale>
        <p:origin x="1200" y="3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5/10/relationships/revisionInfo" Target="revisionInfo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C8D9D37-0261-0EF1-0706-7E8C24432C3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623F12-CDB9-1241-5BFA-9AC3965F3D5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9F6E06-8AE9-401E-B1D6-4A6DCE056B0F}" type="datetimeFigureOut">
              <a:rPr lang="en-US" smtClean="0"/>
              <a:t>7/2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644F52-A9C6-32AA-E5D7-3E8B3FC7166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961922-536E-B5FA-639B-4978DA68147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53E213-5ED2-48D5-AB60-74A86C71B3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921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12BEB8-9A22-4632-8ECE-4193177F415E}" type="datetimeFigureOut">
              <a:rPr lang="en-AE" smtClean="0"/>
              <a:t>25/07/2025</a:t>
            </a:fld>
            <a:endParaRPr lang="en-A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DFF76A-CA92-4FBD-92CF-CAA9DCD73A3B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63112921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8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13.emf"/><Relationship Id="rId4" Type="http://schemas.openxmlformats.org/officeDocument/2006/relationships/image" Target="../media/image8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8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8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8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8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8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8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8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4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8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8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5" Type="http://schemas.openxmlformats.org/officeDocument/2006/relationships/image" Target="../media/image20.emf"/><Relationship Id="rId4" Type="http://schemas.openxmlformats.org/officeDocument/2006/relationships/image" Target="../media/image8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8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31349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9909C5-5A05-711F-6441-FE227C106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0DE4E15-41C2-E623-2D1B-ADDDB28E44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5BA39B-B50A-3846-35BB-319D4ADB13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E55C7-B31F-4073-BEAE-4175732BCF06}" type="datetime1">
              <a:rPr lang="en-AE" smtClean="0"/>
              <a:t>25/07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6139E7-055A-2D66-CE98-3BF94694F6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78B3C4-0925-FBB3-1B10-5B64D8A61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0F0306-F5AF-8E4C-BAB6-CD94A0334CF2}" type="slidenum">
              <a:rPr lang="en-AE" smtClean="0"/>
              <a:pPr/>
              <a:t>‹#›</a:t>
            </a:fld>
            <a:r>
              <a:rPr lang="en-AE" dirty="0"/>
              <a:t>/</a:t>
            </a:r>
            <a:r>
              <a:rPr lang="ar-AE" dirty="0"/>
              <a:t> 36</a:t>
            </a:r>
            <a:endParaRPr lang="en-AE" dirty="0"/>
          </a:p>
        </p:txBody>
      </p:sp>
    </p:spTree>
    <p:extLst>
      <p:ext uri="{BB962C8B-B14F-4D97-AF65-F5344CB8AC3E}">
        <p14:creationId xmlns:p14="http://schemas.microsoft.com/office/powerpoint/2010/main" val="23063959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B1838D1-C748-C73D-05F0-EAC32C925FE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FDF6565-6F6F-0022-F4AB-E0B57BE3F4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F64096-5C79-C316-7ED8-A69CF5D1FF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706A11-1D4A-42C3-827B-999664C24757}" type="datetime1">
              <a:rPr lang="en-AE" smtClean="0"/>
              <a:t>25/07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16B1E4-7FCC-E45C-BC9A-76F377DBD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E75AD5-F062-C5DC-57DC-237C675F5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0F0306-F5AF-8E4C-BAB6-CD94A0334CF2}" type="slidenum">
              <a:rPr lang="en-AE" smtClean="0"/>
              <a:pPr/>
              <a:t>‹#›</a:t>
            </a:fld>
            <a:r>
              <a:rPr lang="en-AE" dirty="0"/>
              <a:t>/</a:t>
            </a:r>
            <a:r>
              <a:rPr lang="ar-AE" dirty="0"/>
              <a:t> 36</a:t>
            </a:r>
            <a:endParaRPr lang="en-AE" dirty="0"/>
          </a:p>
        </p:txBody>
      </p:sp>
    </p:spTree>
    <p:extLst>
      <p:ext uri="{BB962C8B-B14F-4D97-AF65-F5344CB8AC3E}">
        <p14:creationId xmlns:p14="http://schemas.microsoft.com/office/powerpoint/2010/main" val="14980720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5B74279-5B95-A676-6B6B-409974B995AD}"/>
              </a:ext>
            </a:extLst>
          </p:cNvPr>
          <p:cNvSpPr txBox="1"/>
          <p:nvPr userDrawn="1"/>
        </p:nvSpPr>
        <p:spPr>
          <a:xfrm>
            <a:off x="80301" y="6428452"/>
            <a:ext cx="3513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260E2A6B-A809-4840-BF14-8648BC0BDF87}" type="slidenum">
              <a:rPr lang="id-ID" sz="1100" b="0" i="0" smtClean="0">
                <a:solidFill>
                  <a:schemeClr val="tx1">
                    <a:lumMod val="50000"/>
                    <a:lumOff val="50000"/>
                  </a:schemeClr>
                </a:solidFill>
                <a:latin typeface="Dubai" panose="020B0503030403030204" pitchFamily="34" charset="-78"/>
                <a:ea typeface="Lato Light" panose="020F0502020204030203" pitchFamily="34" charset="0"/>
                <a:cs typeface="Dubai" panose="020B0503030403030204" pitchFamily="34" charset="-78"/>
              </a:rPr>
              <a:pPr algn="ctr"/>
              <a:t>‹#›</a:t>
            </a:fld>
            <a:endParaRPr lang="id-ID" sz="1100" b="0" i="0" dirty="0">
              <a:solidFill>
                <a:schemeClr val="tx1">
                  <a:lumMod val="50000"/>
                  <a:lumOff val="50000"/>
                </a:schemeClr>
              </a:solidFill>
              <a:latin typeface="Dubai" panose="020B0503030403030204" pitchFamily="34" charset="-78"/>
              <a:ea typeface="Lato Light" panose="020F0502020204030203" pitchFamily="34" charset="0"/>
              <a:cs typeface="Dubai" panose="020B0503030403030204" pitchFamily="34" charset="-78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5F7C3C8-7249-6960-644C-883B994DFE5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51F74359-A2C3-5344-8B26-591196F4A2F0}" type="datetimeFigureOut">
              <a:rPr lang="en-AE" smtClean="0"/>
              <a:t>25/07/2025</a:t>
            </a:fld>
            <a:endParaRPr lang="en-AE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212D9BC-9251-2C43-3353-C665A6382E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en-AE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FF312577-DD3C-D604-63E6-CE90CEC1BD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FD463FC7-39F4-2248-8062-9F407A6491AB}" type="slidenum">
              <a:rPr lang="en-AE" smtClean="0"/>
              <a:t>‹#›</a:t>
            </a:fld>
            <a:endParaRPr lang="en-AE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013B0BB-D8DC-E2D5-23D9-83CD794073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923" y="6690063"/>
            <a:ext cx="12239846" cy="197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7452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0C7659F-F5BA-E5AE-D713-C901B01E65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5716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C7659F-F5BA-E5AE-D713-C901B01E65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473406" y="2925807"/>
            <a:ext cx="6003594" cy="650050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800" b="0" cap="all" baseline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473406" y="3691530"/>
            <a:ext cx="5175956" cy="430887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4" name="Presenter"/>
          <p:cNvSpPr>
            <a:spLocks noGrp="1"/>
          </p:cNvSpPr>
          <p:nvPr>
            <p:ph type="body" sz="quarter" idx="13" hasCustomPrompt="1"/>
          </p:nvPr>
        </p:nvSpPr>
        <p:spPr>
          <a:xfrm>
            <a:off x="473405" y="4350385"/>
            <a:ext cx="10747247" cy="276999"/>
          </a:xfrm>
        </p:spPr>
        <p:txBody>
          <a:bodyPr lIns="0" tIns="0" rIns="0" bIns="0" anchor="b">
            <a:spAutoFit/>
          </a:bodyPr>
          <a:lstStyle>
            <a:lvl1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Date</a:t>
            </a:r>
          </a:p>
        </p:txBody>
      </p:sp>
      <p:pic>
        <p:nvPicPr>
          <p:cNvPr id="10" name="Picture 9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E15747B4-7998-AEC6-BC45-E4E5E48080F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54" r="1"/>
          <a:stretch/>
        </p:blipFill>
        <p:spPr>
          <a:xfrm>
            <a:off x="454355" y="469280"/>
            <a:ext cx="2374569" cy="698399"/>
          </a:xfrm>
          <a:prstGeom prst="rect">
            <a:avLst/>
          </a:prstGeo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55FC1C5-8E53-501C-9FCD-859FA62EB405}"/>
              </a:ext>
            </a:extLst>
          </p:cNvPr>
          <p:cNvSpPr/>
          <p:nvPr userDrawn="1"/>
        </p:nvSpPr>
        <p:spPr>
          <a:xfrm>
            <a:off x="454355" y="2686301"/>
            <a:ext cx="850900" cy="0"/>
          </a:xfrm>
          <a:custGeom>
            <a:avLst/>
            <a:gdLst>
              <a:gd name="connsiteX0" fmla="*/ 0 w 850900"/>
              <a:gd name="connsiteY0" fmla="*/ 0 h 0"/>
              <a:gd name="connsiteX1" fmla="*/ 850900 w 8509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50900">
                <a:moveTo>
                  <a:pt x="0" y="0"/>
                </a:moveTo>
                <a:lnTo>
                  <a:pt x="850900" y="0"/>
                </a:lnTo>
              </a:path>
            </a:pathLst>
          </a:custGeom>
          <a:noFill/>
          <a:ln w="47625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Copyright">
            <a:extLst>
              <a:ext uri="{FF2B5EF4-FFF2-40B4-BE49-F238E27FC236}">
                <a16:creationId xmlns:a16="http://schemas.microsoft.com/office/drawing/2014/main" id="{63E362B8-E05A-DDBE-C3E2-9A8226E57EB6}"/>
              </a:ext>
            </a:extLst>
          </p:cNvPr>
          <p:cNvSpPr txBox="1"/>
          <p:nvPr userDrawn="1"/>
        </p:nvSpPr>
        <p:spPr>
          <a:xfrm>
            <a:off x="457200" y="6567848"/>
            <a:ext cx="1840247" cy="12311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GB" sz="800" b="0" i="0" u="none" baseline="0" dirty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partment of Municipalities and Transpor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F6C7863-7784-A8A0-901F-B75B15C57947}"/>
              </a:ext>
            </a:extLst>
          </p:cNvPr>
          <p:cNvSpPr txBox="1"/>
          <p:nvPr userDrawn="1"/>
        </p:nvSpPr>
        <p:spPr>
          <a:xfrm>
            <a:off x="473405" y="6190221"/>
            <a:ext cx="1230786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CA" sz="14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t.gov.ae</a:t>
            </a: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98621F8F-21BF-BAEA-D779-0446EA8E8538}"/>
              </a:ext>
            </a:extLst>
          </p:cNvPr>
          <p:cNvSpPr/>
          <p:nvPr userDrawn="1"/>
        </p:nvSpPr>
        <p:spPr>
          <a:xfrm>
            <a:off x="8302028" y="2679826"/>
            <a:ext cx="977774" cy="3711921"/>
          </a:xfrm>
          <a:custGeom>
            <a:avLst/>
            <a:gdLst>
              <a:gd name="connsiteX0" fmla="*/ 9053 w 977774"/>
              <a:gd name="connsiteY0" fmla="*/ 3711921 h 3711921"/>
              <a:gd name="connsiteX1" fmla="*/ 0 w 977774"/>
              <a:gd name="connsiteY1" fmla="*/ 796705 h 3711921"/>
              <a:gd name="connsiteX2" fmla="*/ 162962 w 977774"/>
              <a:gd name="connsiteY2" fmla="*/ 651849 h 3711921"/>
              <a:gd name="connsiteX3" fmla="*/ 172016 w 977774"/>
              <a:gd name="connsiteY3" fmla="*/ 1412340 h 3711921"/>
              <a:gd name="connsiteX4" fmla="*/ 407406 w 977774"/>
              <a:gd name="connsiteY4" fmla="*/ 1249378 h 3711921"/>
              <a:gd name="connsiteX5" fmla="*/ 407406 w 977774"/>
              <a:gd name="connsiteY5" fmla="*/ 479833 h 3711921"/>
              <a:gd name="connsiteX6" fmla="*/ 570368 w 977774"/>
              <a:gd name="connsiteY6" fmla="*/ 344031 h 3711921"/>
              <a:gd name="connsiteX7" fmla="*/ 588475 w 977774"/>
              <a:gd name="connsiteY7" fmla="*/ 1113576 h 3711921"/>
              <a:gd name="connsiteX8" fmla="*/ 805758 w 977774"/>
              <a:gd name="connsiteY8" fmla="*/ 923453 h 3711921"/>
              <a:gd name="connsiteX9" fmla="*/ 787651 w 977774"/>
              <a:gd name="connsiteY9" fmla="*/ 135802 h 3711921"/>
              <a:gd name="connsiteX10" fmla="*/ 968721 w 977774"/>
              <a:gd name="connsiteY10" fmla="*/ 0 h 3711921"/>
              <a:gd name="connsiteX11" fmla="*/ 977774 w 977774"/>
              <a:gd name="connsiteY11" fmla="*/ 3693814 h 3711921"/>
              <a:gd name="connsiteX12" fmla="*/ 805758 w 977774"/>
              <a:gd name="connsiteY12" fmla="*/ 3711921 h 3711921"/>
              <a:gd name="connsiteX13" fmla="*/ 805758 w 977774"/>
              <a:gd name="connsiteY13" fmla="*/ 1267485 h 3711921"/>
              <a:gd name="connsiteX14" fmla="*/ 588475 w 977774"/>
              <a:gd name="connsiteY14" fmla="*/ 1376126 h 3711921"/>
              <a:gd name="connsiteX15" fmla="*/ 579422 w 977774"/>
              <a:gd name="connsiteY15" fmla="*/ 3693814 h 3711921"/>
              <a:gd name="connsiteX16" fmla="*/ 398352 w 977774"/>
              <a:gd name="connsiteY16" fmla="*/ 3702867 h 3711921"/>
              <a:gd name="connsiteX17" fmla="*/ 398352 w 977774"/>
              <a:gd name="connsiteY17" fmla="*/ 1557196 h 3711921"/>
              <a:gd name="connsiteX18" fmla="*/ 172016 w 977774"/>
              <a:gd name="connsiteY18" fmla="*/ 1692998 h 3711921"/>
              <a:gd name="connsiteX19" fmla="*/ 181069 w 977774"/>
              <a:gd name="connsiteY19" fmla="*/ 3693814 h 3711921"/>
              <a:gd name="connsiteX20" fmla="*/ 9053 w 977774"/>
              <a:gd name="connsiteY20" fmla="*/ 3711921 h 3711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977774" h="3711921">
                <a:moveTo>
                  <a:pt x="9053" y="3711921"/>
                </a:moveTo>
                <a:cubicBezTo>
                  <a:pt x="6035" y="2740182"/>
                  <a:pt x="3018" y="1768444"/>
                  <a:pt x="0" y="796705"/>
                </a:cubicBezTo>
                <a:lnTo>
                  <a:pt x="162962" y="651849"/>
                </a:lnTo>
                <a:lnTo>
                  <a:pt x="172016" y="1412340"/>
                </a:lnTo>
                <a:lnTo>
                  <a:pt x="407406" y="1249378"/>
                </a:lnTo>
                <a:lnTo>
                  <a:pt x="407406" y="479833"/>
                </a:lnTo>
                <a:lnTo>
                  <a:pt x="570368" y="344031"/>
                </a:lnTo>
                <a:lnTo>
                  <a:pt x="588475" y="1113576"/>
                </a:lnTo>
                <a:lnTo>
                  <a:pt x="805758" y="923453"/>
                </a:lnTo>
                <a:lnTo>
                  <a:pt x="787651" y="135802"/>
                </a:lnTo>
                <a:lnTo>
                  <a:pt x="968721" y="0"/>
                </a:lnTo>
                <a:cubicBezTo>
                  <a:pt x="971739" y="1231271"/>
                  <a:pt x="974756" y="2462543"/>
                  <a:pt x="977774" y="3693814"/>
                </a:cubicBezTo>
                <a:lnTo>
                  <a:pt x="805758" y="3711921"/>
                </a:lnTo>
                <a:lnTo>
                  <a:pt x="805758" y="1267485"/>
                </a:lnTo>
                <a:lnTo>
                  <a:pt x="588475" y="1376126"/>
                </a:lnTo>
                <a:cubicBezTo>
                  <a:pt x="585457" y="2148689"/>
                  <a:pt x="582440" y="2921251"/>
                  <a:pt x="579422" y="3693814"/>
                </a:cubicBezTo>
                <a:lnTo>
                  <a:pt x="398352" y="3702867"/>
                </a:lnTo>
                <a:lnTo>
                  <a:pt x="398352" y="1557196"/>
                </a:lnTo>
                <a:lnTo>
                  <a:pt x="172016" y="1692998"/>
                </a:lnTo>
                <a:cubicBezTo>
                  <a:pt x="175034" y="2359937"/>
                  <a:pt x="178051" y="3026875"/>
                  <a:pt x="181069" y="3693814"/>
                </a:cubicBezTo>
                <a:lnTo>
                  <a:pt x="9053" y="3711921"/>
                </a:lnTo>
                <a:close/>
              </a:path>
            </a:pathLst>
          </a:custGeom>
          <a:solidFill>
            <a:schemeClr val="accent2">
              <a:alpha val="17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B8670FD5-770B-6E98-16DE-5CC3BE6BF39A}"/>
              </a:ext>
            </a:extLst>
          </p:cNvPr>
          <p:cNvSpPr/>
          <p:nvPr userDrawn="1"/>
        </p:nvSpPr>
        <p:spPr>
          <a:xfrm>
            <a:off x="6808206" y="1367073"/>
            <a:ext cx="814812" cy="5024674"/>
          </a:xfrm>
          <a:custGeom>
            <a:avLst/>
            <a:gdLst>
              <a:gd name="connsiteX0" fmla="*/ 0 w 814812"/>
              <a:gd name="connsiteY0" fmla="*/ 5006567 h 5251010"/>
              <a:gd name="connsiteX1" fmla="*/ 0 w 814812"/>
              <a:gd name="connsiteY1" fmla="*/ 5251010 h 5251010"/>
              <a:gd name="connsiteX2" fmla="*/ 18107 w 814812"/>
              <a:gd name="connsiteY2" fmla="*/ 615636 h 5251010"/>
              <a:gd name="connsiteX3" fmla="*/ 805758 w 814812"/>
              <a:gd name="connsiteY3" fmla="*/ 0 h 5251010"/>
              <a:gd name="connsiteX4" fmla="*/ 814812 w 814812"/>
              <a:gd name="connsiteY4" fmla="*/ 5024674 h 5251010"/>
              <a:gd name="connsiteX5" fmla="*/ 606582 w 814812"/>
              <a:gd name="connsiteY5" fmla="*/ 5015620 h 5251010"/>
              <a:gd name="connsiteX6" fmla="*/ 588475 w 814812"/>
              <a:gd name="connsiteY6" fmla="*/ 1041149 h 5251010"/>
              <a:gd name="connsiteX7" fmla="*/ 144855 w 814812"/>
              <a:gd name="connsiteY7" fmla="*/ 1376127 h 5251010"/>
              <a:gd name="connsiteX8" fmla="*/ 135802 w 814812"/>
              <a:gd name="connsiteY8" fmla="*/ 5024674 h 5251010"/>
              <a:gd name="connsiteX9" fmla="*/ 0 w 814812"/>
              <a:gd name="connsiteY9" fmla="*/ 5006567 h 5251010"/>
              <a:gd name="connsiteX0" fmla="*/ 0 w 814812"/>
              <a:gd name="connsiteY0" fmla="*/ 5006567 h 5251010"/>
              <a:gd name="connsiteX1" fmla="*/ 0 w 814812"/>
              <a:gd name="connsiteY1" fmla="*/ 5251010 h 5251010"/>
              <a:gd name="connsiteX2" fmla="*/ 18107 w 814812"/>
              <a:gd name="connsiteY2" fmla="*/ 653736 h 5251010"/>
              <a:gd name="connsiteX3" fmla="*/ 805758 w 814812"/>
              <a:gd name="connsiteY3" fmla="*/ 0 h 5251010"/>
              <a:gd name="connsiteX4" fmla="*/ 814812 w 814812"/>
              <a:gd name="connsiteY4" fmla="*/ 5024674 h 5251010"/>
              <a:gd name="connsiteX5" fmla="*/ 606582 w 814812"/>
              <a:gd name="connsiteY5" fmla="*/ 5015620 h 5251010"/>
              <a:gd name="connsiteX6" fmla="*/ 588475 w 814812"/>
              <a:gd name="connsiteY6" fmla="*/ 1041149 h 5251010"/>
              <a:gd name="connsiteX7" fmla="*/ 144855 w 814812"/>
              <a:gd name="connsiteY7" fmla="*/ 1376127 h 5251010"/>
              <a:gd name="connsiteX8" fmla="*/ 135802 w 814812"/>
              <a:gd name="connsiteY8" fmla="*/ 5024674 h 5251010"/>
              <a:gd name="connsiteX9" fmla="*/ 0 w 814812"/>
              <a:gd name="connsiteY9" fmla="*/ 5006567 h 5251010"/>
              <a:gd name="connsiteX0" fmla="*/ 0 w 814812"/>
              <a:gd name="connsiteY0" fmla="*/ 5006567 h 5251010"/>
              <a:gd name="connsiteX1" fmla="*/ 0 w 814812"/>
              <a:gd name="connsiteY1" fmla="*/ 5251010 h 5251010"/>
              <a:gd name="connsiteX2" fmla="*/ 18107 w 814812"/>
              <a:gd name="connsiteY2" fmla="*/ 653736 h 5251010"/>
              <a:gd name="connsiteX3" fmla="*/ 805758 w 814812"/>
              <a:gd name="connsiteY3" fmla="*/ 0 h 5251010"/>
              <a:gd name="connsiteX4" fmla="*/ 814812 w 814812"/>
              <a:gd name="connsiteY4" fmla="*/ 5024674 h 5251010"/>
              <a:gd name="connsiteX5" fmla="*/ 597057 w 814812"/>
              <a:gd name="connsiteY5" fmla="*/ 5015620 h 5251010"/>
              <a:gd name="connsiteX6" fmla="*/ 588475 w 814812"/>
              <a:gd name="connsiteY6" fmla="*/ 1041149 h 5251010"/>
              <a:gd name="connsiteX7" fmla="*/ 144855 w 814812"/>
              <a:gd name="connsiteY7" fmla="*/ 1376127 h 5251010"/>
              <a:gd name="connsiteX8" fmla="*/ 135802 w 814812"/>
              <a:gd name="connsiteY8" fmla="*/ 5024674 h 5251010"/>
              <a:gd name="connsiteX9" fmla="*/ 0 w 814812"/>
              <a:gd name="connsiteY9" fmla="*/ 5006567 h 5251010"/>
              <a:gd name="connsiteX0" fmla="*/ 0 w 814812"/>
              <a:gd name="connsiteY0" fmla="*/ 5006567 h 5024674"/>
              <a:gd name="connsiteX1" fmla="*/ 14287 w 814812"/>
              <a:gd name="connsiteY1" fmla="*/ 4998597 h 5024674"/>
              <a:gd name="connsiteX2" fmla="*/ 18107 w 814812"/>
              <a:gd name="connsiteY2" fmla="*/ 653736 h 5024674"/>
              <a:gd name="connsiteX3" fmla="*/ 805758 w 814812"/>
              <a:gd name="connsiteY3" fmla="*/ 0 h 5024674"/>
              <a:gd name="connsiteX4" fmla="*/ 814812 w 814812"/>
              <a:gd name="connsiteY4" fmla="*/ 5024674 h 5024674"/>
              <a:gd name="connsiteX5" fmla="*/ 597057 w 814812"/>
              <a:gd name="connsiteY5" fmla="*/ 5015620 h 5024674"/>
              <a:gd name="connsiteX6" fmla="*/ 588475 w 814812"/>
              <a:gd name="connsiteY6" fmla="*/ 1041149 h 5024674"/>
              <a:gd name="connsiteX7" fmla="*/ 144855 w 814812"/>
              <a:gd name="connsiteY7" fmla="*/ 1376127 h 5024674"/>
              <a:gd name="connsiteX8" fmla="*/ 135802 w 814812"/>
              <a:gd name="connsiteY8" fmla="*/ 5024674 h 5024674"/>
              <a:gd name="connsiteX9" fmla="*/ 0 w 814812"/>
              <a:gd name="connsiteY9" fmla="*/ 5006567 h 5024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14812" h="5024674">
                <a:moveTo>
                  <a:pt x="0" y="5006567"/>
                </a:moveTo>
                <a:lnTo>
                  <a:pt x="14287" y="4998597"/>
                </a:lnTo>
                <a:cubicBezTo>
                  <a:pt x="20323" y="3453472"/>
                  <a:pt x="12071" y="2198861"/>
                  <a:pt x="18107" y="653736"/>
                </a:cubicBezTo>
                <a:lnTo>
                  <a:pt x="805758" y="0"/>
                </a:lnTo>
                <a:lnTo>
                  <a:pt x="814812" y="5024674"/>
                </a:lnTo>
                <a:lnTo>
                  <a:pt x="597057" y="5015620"/>
                </a:lnTo>
                <a:cubicBezTo>
                  <a:pt x="591021" y="3690796"/>
                  <a:pt x="594511" y="2365973"/>
                  <a:pt x="588475" y="1041149"/>
                </a:cubicBezTo>
                <a:lnTo>
                  <a:pt x="144855" y="1376127"/>
                </a:lnTo>
                <a:cubicBezTo>
                  <a:pt x="141837" y="2592309"/>
                  <a:pt x="138820" y="3808492"/>
                  <a:pt x="135802" y="5024674"/>
                </a:cubicBezTo>
                <a:lnTo>
                  <a:pt x="0" y="5006567"/>
                </a:lnTo>
                <a:close/>
              </a:path>
            </a:pathLst>
          </a:custGeom>
          <a:solidFill>
            <a:schemeClr val="accent2">
              <a:alpha val="17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DB1B084A-CE12-1F6F-AA87-0170322ECE26}"/>
              </a:ext>
            </a:extLst>
          </p:cNvPr>
          <p:cNvSpPr/>
          <p:nvPr userDrawn="1"/>
        </p:nvSpPr>
        <p:spPr>
          <a:xfrm>
            <a:off x="4800600" y="4305300"/>
            <a:ext cx="1504950" cy="2085975"/>
          </a:xfrm>
          <a:custGeom>
            <a:avLst/>
            <a:gdLst>
              <a:gd name="connsiteX0" fmla="*/ 1066800 w 1504950"/>
              <a:gd name="connsiteY0" fmla="*/ 923925 h 2085975"/>
              <a:gd name="connsiteX1" fmla="*/ 428625 w 1504950"/>
              <a:gd name="connsiteY1" fmla="*/ 1276350 h 2085975"/>
              <a:gd name="connsiteX2" fmla="*/ 428625 w 1504950"/>
              <a:gd name="connsiteY2" fmla="*/ 1790700 h 2085975"/>
              <a:gd name="connsiteX3" fmla="*/ 1047750 w 1504950"/>
              <a:gd name="connsiteY3" fmla="*/ 1466850 h 2085975"/>
              <a:gd name="connsiteX4" fmla="*/ 1495425 w 1504950"/>
              <a:gd name="connsiteY4" fmla="*/ 0 h 2085975"/>
              <a:gd name="connsiteX5" fmla="*/ 1504950 w 1504950"/>
              <a:gd name="connsiteY5" fmla="*/ 2057400 h 2085975"/>
              <a:gd name="connsiteX6" fmla="*/ 19050 w 1504950"/>
              <a:gd name="connsiteY6" fmla="*/ 2085975 h 2085975"/>
              <a:gd name="connsiteX7" fmla="*/ 0 w 1504950"/>
              <a:gd name="connsiteY7" fmla="*/ 962025 h 2085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04950" h="2085975">
                <a:moveTo>
                  <a:pt x="1066800" y="923925"/>
                </a:moveTo>
                <a:lnTo>
                  <a:pt x="428625" y="1276350"/>
                </a:lnTo>
                <a:lnTo>
                  <a:pt x="428625" y="1790700"/>
                </a:lnTo>
                <a:lnTo>
                  <a:pt x="1047750" y="1466850"/>
                </a:lnTo>
                <a:close/>
                <a:moveTo>
                  <a:pt x="1495425" y="0"/>
                </a:moveTo>
                <a:lnTo>
                  <a:pt x="1504950" y="2057400"/>
                </a:lnTo>
                <a:lnTo>
                  <a:pt x="19050" y="2085975"/>
                </a:lnTo>
                <a:lnTo>
                  <a:pt x="0" y="962025"/>
                </a:lnTo>
                <a:close/>
              </a:path>
            </a:pathLst>
          </a:custGeom>
          <a:solidFill>
            <a:schemeClr val="accent2">
              <a:alpha val="17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8096F57A-91EA-9E11-0CFA-77E0FB89D2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133" t="11074" r="64105" b="47728"/>
          <a:stretch/>
        </p:blipFill>
        <p:spPr>
          <a:xfrm>
            <a:off x="4935881" y="1329825"/>
            <a:ext cx="7256119" cy="5528174"/>
          </a:xfrm>
          <a:custGeom>
            <a:avLst/>
            <a:gdLst>
              <a:gd name="connsiteX0" fmla="*/ 0 w 7256119"/>
              <a:gd name="connsiteY0" fmla="*/ 0 h 5528174"/>
              <a:gd name="connsiteX1" fmla="*/ 1849778 w 7256119"/>
              <a:gd name="connsiteY1" fmla="*/ 0 h 5528174"/>
              <a:gd name="connsiteX2" fmla="*/ 1793629 w 7256119"/>
              <a:gd name="connsiteY2" fmla="*/ 311780 h 5528174"/>
              <a:gd name="connsiteX3" fmla="*/ 1782419 w 7256119"/>
              <a:gd name="connsiteY3" fmla="*/ 321175 h 5528174"/>
              <a:gd name="connsiteX4" fmla="*/ 1623669 w 7256119"/>
              <a:gd name="connsiteY4" fmla="*/ 841875 h 5528174"/>
              <a:gd name="connsiteX5" fmla="*/ 1706235 w 7256119"/>
              <a:gd name="connsiteY5" fmla="*/ 797054 h 5528174"/>
              <a:gd name="connsiteX6" fmla="*/ 1704679 w 7256119"/>
              <a:gd name="connsiteY6" fmla="*/ 805693 h 5528174"/>
              <a:gd name="connsiteX7" fmla="*/ 1729903 w 7256119"/>
              <a:gd name="connsiteY7" fmla="*/ 784206 h 5528174"/>
              <a:gd name="connsiteX8" fmla="*/ 1845919 w 7256119"/>
              <a:gd name="connsiteY8" fmla="*/ 721225 h 5528174"/>
              <a:gd name="connsiteX9" fmla="*/ 2701086 w 7256119"/>
              <a:gd name="connsiteY9" fmla="*/ 0 h 5528174"/>
              <a:gd name="connsiteX10" fmla="*/ 7256119 w 7256119"/>
              <a:gd name="connsiteY10" fmla="*/ 0 h 5528174"/>
              <a:gd name="connsiteX11" fmla="*/ 7256119 w 7256119"/>
              <a:gd name="connsiteY11" fmla="*/ 5528174 h 5528174"/>
              <a:gd name="connsiteX12" fmla="*/ 1215412 w 7256119"/>
              <a:gd name="connsiteY12" fmla="*/ 5528174 h 5528174"/>
              <a:gd name="connsiteX13" fmla="*/ 1215412 w 7256119"/>
              <a:gd name="connsiteY13" fmla="*/ 5118896 h 5528174"/>
              <a:gd name="connsiteX14" fmla="*/ 1161723 w 7256119"/>
              <a:gd name="connsiteY14" fmla="*/ 5118896 h 5528174"/>
              <a:gd name="connsiteX15" fmla="*/ 1161723 w 7256119"/>
              <a:gd name="connsiteY15" fmla="*/ 5095245 h 5528174"/>
              <a:gd name="connsiteX16" fmla="*/ 0 w 7256119"/>
              <a:gd name="connsiteY16" fmla="*/ 5095245 h 5528174"/>
              <a:gd name="connsiteX17" fmla="*/ 0 w 7256119"/>
              <a:gd name="connsiteY17" fmla="*/ 3802443 h 5528174"/>
              <a:gd name="connsiteX18" fmla="*/ 340969 w 7256119"/>
              <a:gd name="connsiteY18" fmla="*/ 3585075 h 5528174"/>
              <a:gd name="connsiteX19" fmla="*/ 340969 w 7256119"/>
              <a:gd name="connsiteY19" fmla="*/ 2683375 h 5528174"/>
              <a:gd name="connsiteX20" fmla="*/ 291623 w 7256119"/>
              <a:gd name="connsiteY20" fmla="*/ 2698943 h 5528174"/>
              <a:gd name="connsiteX21" fmla="*/ 291623 w 7256119"/>
              <a:gd name="connsiteY21" fmla="*/ 2541831 h 5528174"/>
              <a:gd name="connsiteX22" fmla="*/ 324182 w 7256119"/>
              <a:gd name="connsiteY22" fmla="*/ 2541831 h 5528174"/>
              <a:gd name="connsiteX23" fmla="*/ 324182 w 7256119"/>
              <a:gd name="connsiteY23" fmla="*/ 1859809 h 5528174"/>
              <a:gd name="connsiteX24" fmla="*/ 291623 w 7256119"/>
              <a:gd name="connsiteY24" fmla="*/ 1859809 h 5528174"/>
              <a:gd name="connsiteX25" fmla="*/ 291623 w 7256119"/>
              <a:gd name="connsiteY25" fmla="*/ 1298276 h 5528174"/>
              <a:gd name="connsiteX26" fmla="*/ 0 w 7256119"/>
              <a:gd name="connsiteY26" fmla="*/ 1298276 h 5528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7256119" h="5528174">
                <a:moveTo>
                  <a:pt x="0" y="0"/>
                </a:moveTo>
                <a:lnTo>
                  <a:pt x="1849778" y="0"/>
                </a:lnTo>
                <a:lnTo>
                  <a:pt x="1793629" y="311780"/>
                </a:lnTo>
                <a:lnTo>
                  <a:pt x="1782419" y="321175"/>
                </a:lnTo>
                <a:lnTo>
                  <a:pt x="1623669" y="841875"/>
                </a:lnTo>
                <a:lnTo>
                  <a:pt x="1706235" y="797054"/>
                </a:lnTo>
                <a:lnTo>
                  <a:pt x="1704679" y="805693"/>
                </a:lnTo>
                <a:lnTo>
                  <a:pt x="1729903" y="784206"/>
                </a:lnTo>
                <a:lnTo>
                  <a:pt x="1845919" y="721225"/>
                </a:lnTo>
                <a:lnTo>
                  <a:pt x="2701086" y="0"/>
                </a:lnTo>
                <a:lnTo>
                  <a:pt x="7256119" y="0"/>
                </a:lnTo>
                <a:lnTo>
                  <a:pt x="7256119" y="5528174"/>
                </a:lnTo>
                <a:lnTo>
                  <a:pt x="1215412" y="5528174"/>
                </a:lnTo>
                <a:lnTo>
                  <a:pt x="1215412" y="5118896"/>
                </a:lnTo>
                <a:lnTo>
                  <a:pt x="1161723" y="5118896"/>
                </a:lnTo>
                <a:lnTo>
                  <a:pt x="1161723" y="5095245"/>
                </a:lnTo>
                <a:lnTo>
                  <a:pt x="0" y="5095245"/>
                </a:lnTo>
                <a:lnTo>
                  <a:pt x="0" y="3802443"/>
                </a:lnTo>
                <a:lnTo>
                  <a:pt x="340969" y="3585075"/>
                </a:lnTo>
                <a:lnTo>
                  <a:pt x="340969" y="2683375"/>
                </a:lnTo>
                <a:lnTo>
                  <a:pt x="291623" y="2698943"/>
                </a:lnTo>
                <a:lnTo>
                  <a:pt x="291623" y="2541831"/>
                </a:lnTo>
                <a:lnTo>
                  <a:pt x="324182" y="2541831"/>
                </a:lnTo>
                <a:lnTo>
                  <a:pt x="324182" y="1859809"/>
                </a:lnTo>
                <a:lnTo>
                  <a:pt x="291623" y="1859809"/>
                </a:lnTo>
                <a:lnTo>
                  <a:pt x="291623" y="1298276"/>
                </a:lnTo>
                <a:lnTo>
                  <a:pt x="0" y="1298276"/>
                </a:lnTo>
                <a:close/>
              </a:path>
            </a:pathLst>
          </a:cu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04AE3CA1-946E-D338-4FD9-1D085AD870C8}"/>
              </a:ext>
            </a:extLst>
          </p:cNvPr>
          <p:cNvGrpSpPr/>
          <p:nvPr userDrawn="1"/>
        </p:nvGrpSpPr>
        <p:grpSpPr>
          <a:xfrm>
            <a:off x="10502900" y="1329825"/>
            <a:ext cx="814812" cy="817354"/>
            <a:chOff x="-3647" y="-3647"/>
            <a:chExt cx="1169013" cy="1172660"/>
          </a:xfrm>
          <a:solidFill>
            <a:schemeClr val="accent2"/>
          </a:solidFill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17417AB1-460A-33A8-E85D-C82F0C843823}"/>
                </a:ext>
              </a:extLst>
            </p:cNvPr>
            <p:cNvSpPr/>
            <p:nvPr/>
          </p:nvSpPr>
          <p:spPr>
            <a:xfrm>
              <a:off x="-3647" y="0"/>
              <a:ext cx="219647" cy="116901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205EB01-95B1-7E69-C886-5C08C637B4D7}"/>
                </a:ext>
              </a:extLst>
            </p:cNvPr>
            <p:cNvSpPr/>
            <p:nvPr/>
          </p:nvSpPr>
          <p:spPr>
            <a:xfrm rot="16200000">
              <a:off x="471036" y="-478330"/>
              <a:ext cx="219647" cy="116901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8A7335C9-C518-702B-5F59-54D4D874BF2D}"/>
              </a:ext>
            </a:extLst>
          </p:cNvPr>
          <p:cNvSpPr/>
          <p:nvPr userDrawn="1"/>
        </p:nvSpPr>
        <p:spPr>
          <a:xfrm>
            <a:off x="10528300" y="1346200"/>
            <a:ext cx="1638300" cy="5308600"/>
          </a:xfrm>
          <a:custGeom>
            <a:avLst/>
            <a:gdLst>
              <a:gd name="connsiteX0" fmla="*/ 1638300 w 1638300"/>
              <a:gd name="connsiteY0" fmla="*/ 6121400 h 6121400"/>
              <a:gd name="connsiteX1" fmla="*/ 0 w 1638300"/>
              <a:gd name="connsiteY1" fmla="*/ 5676900 h 6121400"/>
              <a:gd name="connsiteX2" fmla="*/ 0 w 1638300"/>
              <a:gd name="connsiteY2" fmla="*/ 812800 h 6121400"/>
              <a:gd name="connsiteX3" fmla="*/ 317500 w 1638300"/>
              <a:gd name="connsiteY3" fmla="*/ 0 h 6121400"/>
              <a:gd name="connsiteX0" fmla="*/ 1638300 w 1638300"/>
              <a:gd name="connsiteY0" fmla="*/ 5308600 h 5308600"/>
              <a:gd name="connsiteX1" fmla="*/ 0 w 1638300"/>
              <a:gd name="connsiteY1" fmla="*/ 4864100 h 5308600"/>
              <a:gd name="connsiteX2" fmla="*/ 0 w 1638300"/>
              <a:gd name="connsiteY2" fmla="*/ 0 h 530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8300" h="5308600">
                <a:moveTo>
                  <a:pt x="1638300" y="5308600"/>
                </a:moveTo>
                <a:lnTo>
                  <a:pt x="0" y="4864100"/>
                </a:lnTo>
                <a:lnTo>
                  <a:pt x="0" y="0"/>
                </a:lnTo>
              </a:path>
            </a:pathLst>
          </a:custGeom>
          <a:noFill/>
          <a:ln w="47625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64A77C6A-C964-BB19-62C4-E632B5693C67}"/>
              </a:ext>
            </a:extLst>
          </p:cNvPr>
          <p:cNvSpPr/>
          <p:nvPr userDrawn="1"/>
        </p:nvSpPr>
        <p:spPr>
          <a:xfrm>
            <a:off x="4811824" y="-1"/>
            <a:ext cx="2808176" cy="6379271"/>
          </a:xfrm>
          <a:custGeom>
            <a:avLst/>
            <a:gdLst>
              <a:gd name="connsiteX0" fmla="*/ 0 w 1447800"/>
              <a:gd name="connsiteY0" fmla="*/ 3867150 h 3867150"/>
              <a:gd name="connsiteX1" fmla="*/ 1447800 w 1447800"/>
              <a:gd name="connsiteY1" fmla="*/ 3867150 h 3867150"/>
              <a:gd name="connsiteX2" fmla="*/ 1447800 w 1447800"/>
              <a:gd name="connsiteY2" fmla="*/ 0 h 386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47800" h="3867150">
                <a:moveTo>
                  <a:pt x="0" y="3867150"/>
                </a:moveTo>
                <a:lnTo>
                  <a:pt x="1447800" y="3867150"/>
                </a:lnTo>
                <a:lnTo>
                  <a:pt x="1447800" y="0"/>
                </a:lnTo>
              </a:path>
            </a:pathLst>
          </a:custGeom>
          <a:noFill/>
          <a:ln w="47625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93404518-66BA-8EB0-2FBF-1FA571207193}"/>
              </a:ext>
            </a:extLst>
          </p:cNvPr>
          <p:cNvSpPr/>
          <p:nvPr userDrawn="1"/>
        </p:nvSpPr>
        <p:spPr>
          <a:xfrm>
            <a:off x="4810140" y="4282507"/>
            <a:ext cx="1497248" cy="2116831"/>
          </a:xfrm>
          <a:custGeom>
            <a:avLst/>
            <a:gdLst>
              <a:gd name="connsiteX0" fmla="*/ 0 w 863600"/>
              <a:gd name="connsiteY0" fmla="*/ 1308100 h 1314450"/>
              <a:gd name="connsiteX1" fmla="*/ 6350 w 863600"/>
              <a:gd name="connsiteY1" fmla="*/ 552450 h 1314450"/>
              <a:gd name="connsiteX2" fmla="*/ 863600 w 863600"/>
              <a:gd name="connsiteY2" fmla="*/ 0 h 1314450"/>
              <a:gd name="connsiteX3" fmla="*/ 863600 w 863600"/>
              <a:gd name="connsiteY3" fmla="*/ 1314450 h 1314450"/>
              <a:gd name="connsiteX0" fmla="*/ 74653 w 938253"/>
              <a:gd name="connsiteY0" fmla="*/ 1308100 h 1314450"/>
              <a:gd name="connsiteX1" fmla="*/ 41 w 938253"/>
              <a:gd name="connsiteY1" fmla="*/ 604837 h 1314450"/>
              <a:gd name="connsiteX2" fmla="*/ 938253 w 938253"/>
              <a:gd name="connsiteY2" fmla="*/ 0 h 1314450"/>
              <a:gd name="connsiteX3" fmla="*/ 938253 w 938253"/>
              <a:gd name="connsiteY3" fmla="*/ 1314450 h 1314450"/>
              <a:gd name="connsiteX0" fmla="*/ 1325 w 938744"/>
              <a:gd name="connsiteY0" fmla="*/ 1303337 h 1314450"/>
              <a:gd name="connsiteX1" fmla="*/ 532 w 938744"/>
              <a:gd name="connsiteY1" fmla="*/ 604837 h 1314450"/>
              <a:gd name="connsiteX2" fmla="*/ 938744 w 938744"/>
              <a:gd name="connsiteY2" fmla="*/ 0 h 1314450"/>
              <a:gd name="connsiteX3" fmla="*/ 938744 w 938744"/>
              <a:gd name="connsiteY3" fmla="*/ 1314450 h 1314450"/>
              <a:gd name="connsiteX0" fmla="*/ 1325 w 938744"/>
              <a:gd name="connsiteY0" fmla="*/ 1324768 h 1324768"/>
              <a:gd name="connsiteX1" fmla="*/ 532 w 938744"/>
              <a:gd name="connsiteY1" fmla="*/ 604837 h 1324768"/>
              <a:gd name="connsiteX2" fmla="*/ 938744 w 938744"/>
              <a:gd name="connsiteY2" fmla="*/ 0 h 1324768"/>
              <a:gd name="connsiteX3" fmla="*/ 938744 w 938744"/>
              <a:gd name="connsiteY3" fmla="*/ 1314450 h 1324768"/>
              <a:gd name="connsiteX0" fmla="*/ 0 w 939800"/>
              <a:gd name="connsiteY0" fmla="*/ 1336675 h 1336675"/>
              <a:gd name="connsiteX1" fmla="*/ 1588 w 939800"/>
              <a:gd name="connsiteY1" fmla="*/ 604837 h 1336675"/>
              <a:gd name="connsiteX2" fmla="*/ 939800 w 939800"/>
              <a:gd name="connsiteY2" fmla="*/ 0 h 1336675"/>
              <a:gd name="connsiteX3" fmla="*/ 939800 w 939800"/>
              <a:gd name="connsiteY3" fmla="*/ 1314450 h 1336675"/>
              <a:gd name="connsiteX0" fmla="*/ 0 w 939800"/>
              <a:gd name="connsiteY0" fmla="*/ 1328703 h 1328703"/>
              <a:gd name="connsiteX1" fmla="*/ 1588 w 939800"/>
              <a:gd name="connsiteY1" fmla="*/ 604837 h 1328703"/>
              <a:gd name="connsiteX2" fmla="*/ 939800 w 939800"/>
              <a:gd name="connsiteY2" fmla="*/ 0 h 1328703"/>
              <a:gd name="connsiteX3" fmla="*/ 939800 w 939800"/>
              <a:gd name="connsiteY3" fmla="*/ 1314450 h 1328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39800" h="1328703">
                <a:moveTo>
                  <a:pt x="0" y="1328703"/>
                </a:moveTo>
                <a:cubicBezTo>
                  <a:pt x="2117" y="1076820"/>
                  <a:pt x="-529" y="856720"/>
                  <a:pt x="1588" y="604837"/>
                </a:cubicBezTo>
                <a:lnTo>
                  <a:pt x="939800" y="0"/>
                </a:lnTo>
                <a:lnTo>
                  <a:pt x="939800" y="1314450"/>
                </a:lnTo>
              </a:path>
            </a:pathLst>
          </a:custGeom>
          <a:noFill/>
          <a:ln w="47625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65499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0C7659F-F5BA-E5AE-D713-C901B01E65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5716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C7659F-F5BA-E5AE-D713-C901B01E65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473406" y="2925807"/>
            <a:ext cx="6003594" cy="650050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800" b="0" cap="all" baseline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473406" y="3691530"/>
            <a:ext cx="5175956" cy="430887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4" name="Presenter"/>
          <p:cNvSpPr>
            <a:spLocks noGrp="1"/>
          </p:cNvSpPr>
          <p:nvPr>
            <p:ph type="body" sz="quarter" idx="13" hasCustomPrompt="1"/>
          </p:nvPr>
        </p:nvSpPr>
        <p:spPr>
          <a:xfrm>
            <a:off x="473405" y="4350385"/>
            <a:ext cx="10747247" cy="276999"/>
          </a:xfrm>
        </p:spPr>
        <p:txBody>
          <a:bodyPr lIns="0" tIns="0" rIns="0" bIns="0" anchor="b">
            <a:spAutoFit/>
          </a:bodyPr>
          <a:lstStyle>
            <a:lvl1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55FC1C5-8E53-501C-9FCD-859FA62EB405}"/>
              </a:ext>
            </a:extLst>
          </p:cNvPr>
          <p:cNvSpPr/>
          <p:nvPr userDrawn="1"/>
        </p:nvSpPr>
        <p:spPr>
          <a:xfrm>
            <a:off x="454355" y="2686301"/>
            <a:ext cx="850900" cy="0"/>
          </a:xfrm>
          <a:custGeom>
            <a:avLst/>
            <a:gdLst>
              <a:gd name="connsiteX0" fmla="*/ 0 w 850900"/>
              <a:gd name="connsiteY0" fmla="*/ 0 h 0"/>
              <a:gd name="connsiteX1" fmla="*/ 850900 w 8509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50900">
                <a:moveTo>
                  <a:pt x="0" y="0"/>
                </a:moveTo>
                <a:lnTo>
                  <a:pt x="850900" y="0"/>
                </a:lnTo>
              </a:path>
            </a:pathLst>
          </a:custGeom>
          <a:noFill/>
          <a:ln w="47625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Copyright">
            <a:extLst>
              <a:ext uri="{FF2B5EF4-FFF2-40B4-BE49-F238E27FC236}">
                <a16:creationId xmlns:a16="http://schemas.microsoft.com/office/drawing/2014/main" id="{63E362B8-E05A-DDBE-C3E2-9A8226E57EB6}"/>
              </a:ext>
            </a:extLst>
          </p:cNvPr>
          <p:cNvSpPr txBox="1"/>
          <p:nvPr userDrawn="1"/>
        </p:nvSpPr>
        <p:spPr>
          <a:xfrm>
            <a:off x="457200" y="6567848"/>
            <a:ext cx="1840247" cy="12311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GB" sz="800" b="0" i="0" u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partment of Municipalities and Transpor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F6C7863-7784-A8A0-901F-B75B15C57947}"/>
              </a:ext>
            </a:extLst>
          </p:cNvPr>
          <p:cNvSpPr txBox="1"/>
          <p:nvPr userDrawn="1"/>
        </p:nvSpPr>
        <p:spPr>
          <a:xfrm>
            <a:off x="473405" y="6190221"/>
            <a:ext cx="1230786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CA" sz="14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t.gov.ae</a:t>
            </a:r>
          </a:p>
        </p:txBody>
      </p:sp>
      <p:pic>
        <p:nvPicPr>
          <p:cNvPr id="5" name="Picture 4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AA0B9BC3-22D7-CDF3-A4E2-C4CE855DD8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54" r="1"/>
          <a:stretch/>
        </p:blipFill>
        <p:spPr>
          <a:xfrm>
            <a:off x="454355" y="469280"/>
            <a:ext cx="2374569" cy="698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2716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2EDF3C6-7F7D-E591-B1EE-606CE4862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2885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EDF3C6-7F7D-E591-B1EE-606CE4862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692666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AAD5985-8E0A-6DD0-D2DD-9A10A8B99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3769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4" imgH="456" progId="TCLayout.ActiveDocument.1">
                  <p:embed/>
                </p:oleObj>
              </mc:Choice>
              <mc:Fallback>
                <p:oleObj name="think-cell Slide" r:id="rId3" imgW="454" imgH="45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AD5985-8E0A-6DD0-D2DD-9A10A8B99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561462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6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_with background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AAD5985-8E0A-6DD0-D2DD-9A10A8B99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8802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4" imgH="456" progId="TCLayout.ActiveDocument.1">
                  <p:embed/>
                </p:oleObj>
              </mc:Choice>
              <mc:Fallback>
                <p:oleObj name="think-cell Slide" r:id="rId3" imgW="454" imgH="45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AD5985-8E0A-6DD0-D2DD-9A10A8B99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3FB2648-6BD1-99CD-4830-F985CC42DF9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7609"/>
          <a:stretch/>
        </p:blipFill>
        <p:spPr>
          <a:xfrm flipH="1">
            <a:off x="7759700" y="2371872"/>
            <a:ext cx="4432300" cy="4492152"/>
          </a:xfrm>
          <a:prstGeom prst="rect">
            <a:avLst/>
          </a:prstGeom>
        </p:spPr>
      </p:pic>
      <p:sp>
        <p:nvSpPr>
          <p:cNvPr id="7" name="Graphic 7">
            <a:extLst>
              <a:ext uri="{FF2B5EF4-FFF2-40B4-BE49-F238E27FC236}">
                <a16:creationId xmlns:a16="http://schemas.microsoft.com/office/drawing/2014/main" id="{139A7AAF-05D7-5154-CEED-A75986477363}"/>
              </a:ext>
            </a:extLst>
          </p:cNvPr>
          <p:cNvSpPr/>
          <p:nvPr/>
        </p:nvSpPr>
        <p:spPr>
          <a:xfrm flipH="1">
            <a:off x="8662194" y="2960882"/>
            <a:ext cx="3496595" cy="3924276"/>
          </a:xfrm>
          <a:custGeom>
            <a:avLst/>
            <a:gdLst>
              <a:gd name="connsiteX0" fmla="*/ 4177417 w 4177416"/>
              <a:gd name="connsiteY0" fmla="*/ 3335527 h 4688371"/>
              <a:gd name="connsiteX1" fmla="*/ 3928618 w 4177416"/>
              <a:gd name="connsiteY1" fmla="*/ 3335527 h 4688371"/>
              <a:gd name="connsiteX2" fmla="*/ 3928618 w 4177416"/>
              <a:gd name="connsiteY2" fmla="*/ 2712142 h 4688371"/>
              <a:gd name="connsiteX3" fmla="*/ 1132694 w 4177416"/>
              <a:gd name="connsiteY3" fmla="*/ 1564543 h 4688371"/>
              <a:gd name="connsiteX4" fmla="*/ 1132694 w 4177416"/>
              <a:gd name="connsiteY4" fmla="*/ 4688372 h 4688371"/>
              <a:gd name="connsiteX5" fmla="*/ 0 w 4177416"/>
              <a:gd name="connsiteY5" fmla="*/ 4688372 h 4688371"/>
              <a:gd name="connsiteX6" fmla="*/ 0 w 4177416"/>
              <a:gd name="connsiteY6" fmla="*/ 0 h 4688371"/>
              <a:gd name="connsiteX7" fmla="*/ 4177417 w 4177416"/>
              <a:gd name="connsiteY7" fmla="*/ 2558611 h 4688371"/>
              <a:gd name="connsiteX8" fmla="*/ 4177417 w 4177416"/>
              <a:gd name="connsiteY8" fmla="*/ 3335527 h 4688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177416" h="4688371">
                <a:moveTo>
                  <a:pt x="4177417" y="3335527"/>
                </a:moveTo>
                <a:lnTo>
                  <a:pt x="3928618" y="3335527"/>
                </a:lnTo>
                <a:lnTo>
                  <a:pt x="3928618" y="2712142"/>
                </a:lnTo>
                <a:lnTo>
                  <a:pt x="1132694" y="1564543"/>
                </a:lnTo>
                <a:lnTo>
                  <a:pt x="1132694" y="4688372"/>
                </a:lnTo>
                <a:lnTo>
                  <a:pt x="0" y="4688372"/>
                </a:lnTo>
                <a:lnTo>
                  <a:pt x="0" y="0"/>
                </a:lnTo>
                <a:lnTo>
                  <a:pt x="4177417" y="2558611"/>
                </a:lnTo>
                <a:lnTo>
                  <a:pt x="4177417" y="3335527"/>
                </a:lnTo>
                <a:close/>
              </a:path>
            </a:pathLst>
          </a:custGeom>
          <a:solidFill>
            <a:schemeClr val="accent2">
              <a:alpha val="17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563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_with background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AAD5985-8E0A-6DD0-D2DD-9A10A8B99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3517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4" imgH="456" progId="TCLayout.ActiveDocument.1">
                  <p:embed/>
                </p:oleObj>
              </mc:Choice>
              <mc:Fallback>
                <p:oleObj name="think-cell Slide" r:id="rId3" imgW="454" imgH="45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AD5985-8E0A-6DD0-D2DD-9A10A8B99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C10CAFA-29CA-B70F-6ED4-284FA95B34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6709"/>
          <a:stretch/>
        </p:blipFill>
        <p:spPr>
          <a:xfrm flipH="1">
            <a:off x="2516486" y="1057275"/>
            <a:ext cx="9780287" cy="5800725"/>
          </a:xfrm>
          <a:custGeom>
            <a:avLst/>
            <a:gdLst>
              <a:gd name="connsiteX0" fmla="*/ 8434386 w 9780287"/>
              <a:gd name="connsiteY0" fmla="*/ 3876675 h 5800725"/>
              <a:gd name="connsiteX1" fmla="*/ 8434386 w 9780287"/>
              <a:gd name="connsiteY1" fmla="*/ 4167188 h 5800725"/>
              <a:gd name="connsiteX2" fmla="*/ 8290497 w 9780287"/>
              <a:gd name="connsiteY2" fmla="*/ 4167188 h 5800725"/>
              <a:gd name="connsiteX3" fmla="*/ 8290497 w 9780287"/>
              <a:gd name="connsiteY3" fmla="*/ 3876675 h 5800725"/>
              <a:gd name="connsiteX4" fmla="*/ 9780287 w 9780287"/>
              <a:gd name="connsiteY4" fmla="*/ 536135 h 5800725"/>
              <a:gd name="connsiteX5" fmla="*/ 9020173 w 9780287"/>
              <a:gd name="connsiteY5" fmla="*/ 536135 h 5800725"/>
              <a:gd name="connsiteX6" fmla="*/ 9020173 w 9780287"/>
              <a:gd name="connsiteY6" fmla="*/ 4145776 h 5800725"/>
              <a:gd name="connsiteX7" fmla="*/ 9592428 w 9780287"/>
              <a:gd name="connsiteY7" fmla="*/ 4145776 h 5800725"/>
              <a:gd name="connsiteX8" fmla="*/ 9592428 w 9780287"/>
              <a:gd name="connsiteY8" fmla="*/ 4549090 h 5800725"/>
              <a:gd name="connsiteX9" fmla="*/ 9780287 w 9780287"/>
              <a:gd name="connsiteY9" fmla="*/ 4549090 h 5800725"/>
              <a:gd name="connsiteX10" fmla="*/ 8240821 w 9780287"/>
              <a:gd name="connsiteY10" fmla="*/ 0 h 5800725"/>
              <a:gd name="connsiteX11" fmla="*/ 0 w 9780287"/>
              <a:gd name="connsiteY11" fmla="*/ 0 h 5800725"/>
              <a:gd name="connsiteX12" fmla="*/ 0 w 9780287"/>
              <a:gd name="connsiteY12" fmla="*/ 5800725 h 5800725"/>
              <a:gd name="connsiteX13" fmla="*/ 9780287 w 9780287"/>
              <a:gd name="connsiteY13" fmla="*/ 5800725 h 5800725"/>
              <a:gd name="connsiteX14" fmla="*/ 9780287 w 9780287"/>
              <a:gd name="connsiteY14" fmla="*/ 5397592 h 5800725"/>
              <a:gd name="connsiteX15" fmla="*/ 8286088 w 9780287"/>
              <a:gd name="connsiteY15" fmla="*/ 5397592 h 5800725"/>
              <a:gd name="connsiteX16" fmla="*/ 8286088 w 9780287"/>
              <a:gd name="connsiteY16" fmla="*/ 4549090 h 5800725"/>
              <a:gd name="connsiteX17" fmla="*/ 8441053 w 9780287"/>
              <a:gd name="connsiteY17" fmla="*/ 4549090 h 5800725"/>
              <a:gd name="connsiteX18" fmla="*/ 8441053 w 9780287"/>
              <a:gd name="connsiteY18" fmla="*/ 4145776 h 5800725"/>
              <a:gd name="connsiteX19" fmla="*/ 8455817 w 9780287"/>
              <a:gd name="connsiteY19" fmla="*/ 4145776 h 5800725"/>
              <a:gd name="connsiteX20" fmla="*/ 8455817 w 9780287"/>
              <a:gd name="connsiteY20" fmla="*/ 4110037 h 5800725"/>
              <a:gd name="connsiteX21" fmla="*/ 8548638 w 9780287"/>
              <a:gd name="connsiteY21" fmla="*/ 4110037 h 5800725"/>
              <a:gd name="connsiteX22" fmla="*/ 8548638 w 9780287"/>
              <a:gd name="connsiteY22" fmla="*/ 536135 h 5800725"/>
              <a:gd name="connsiteX23" fmla="*/ 8240821 w 9780287"/>
              <a:gd name="connsiteY23" fmla="*/ 536135 h 5800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780287" h="5800725">
                <a:moveTo>
                  <a:pt x="8434386" y="3876675"/>
                </a:moveTo>
                <a:lnTo>
                  <a:pt x="8434386" y="4167188"/>
                </a:lnTo>
                <a:lnTo>
                  <a:pt x="8290497" y="4167188"/>
                </a:lnTo>
                <a:lnTo>
                  <a:pt x="8290497" y="3876675"/>
                </a:lnTo>
                <a:close/>
                <a:moveTo>
                  <a:pt x="9780287" y="536135"/>
                </a:moveTo>
                <a:lnTo>
                  <a:pt x="9020173" y="536135"/>
                </a:lnTo>
                <a:lnTo>
                  <a:pt x="9020173" y="4145776"/>
                </a:lnTo>
                <a:lnTo>
                  <a:pt x="9592428" y="4145776"/>
                </a:lnTo>
                <a:lnTo>
                  <a:pt x="9592428" y="4549090"/>
                </a:lnTo>
                <a:lnTo>
                  <a:pt x="9780287" y="4549090"/>
                </a:lnTo>
                <a:close/>
                <a:moveTo>
                  <a:pt x="8240821" y="0"/>
                </a:moveTo>
                <a:lnTo>
                  <a:pt x="0" y="0"/>
                </a:lnTo>
                <a:lnTo>
                  <a:pt x="0" y="5800725"/>
                </a:lnTo>
                <a:lnTo>
                  <a:pt x="9780287" y="5800725"/>
                </a:lnTo>
                <a:lnTo>
                  <a:pt x="9780287" y="5397592"/>
                </a:lnTo>
                <a:lnTo>
                  <a:pt x="8286088" y="5397592"/>
                </a:lnTo>
                <a:lnTo>
                  <a:pt x="8286088" y="4549090"/>
                </a:lnTo>
                <a:lnTo>
                  <a:pt x="8441053" y="4549090"/>
                </a:lnTo>
                <a:lnTo>
                  <a:pt x="8441053" y="4145776"/>
                </a:lnTo>
                <a:lnTo>
                  <a:pt x="8455817" y="4145776"/>
                </a:lnTo>
                <a:lnTo>
                  <a:pt x="8455817" y="4110037"/>
                </a:lnTo>
                <a:lnTo>
                  <a:pt x="8548638" y="4110037"/>
                </a:lnTo>
                <a:lnTo>
                  <a:pt x="8548638" y="536135"/>
                </a:lnTo>
                <a:lnTo>
                  <a:pt x="8240821" y="53613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68531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_with background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AAD5985-8E0A-6DD0-D2DD-9A10A8B99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7042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4" imgH="456" progId="TCLayout.ActiveDocument.1">
                  <p:embed/>
                </p:oleObj>
              </mc:Choice>
              <mc:Fallback>
                <p:oleObj name="think-cell Slide" r:id="rId3" imgW="454" imgH="45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AD5985-8E0A-6DD0-D2DD-9A10A8B99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91579C-5D6A-DEDF-DA3F-0CECEF0481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l="1544" t="7478"/>
          <a:stretch/>
        </p:blipFill>
        <p:spPr>
          <a:xfrm rot="5400000">
            <a:off x="7168963" y="843156"/>
            <a:ext cx="5866193" cy="4179881"/>
          </a:xfrm>
          <a:custGeom>
            <a:avLst/>
            <a:gdLst>
              <a:gd name="connsiteX0" fmla="*/ 4670009 w 5866193"/>
              <a:gd name="connsiteY0" fmla="*/ 4179881 h 4179881"/>
              <a:gd name="connsiteX1" fmla="*/ 5866193 w 5866193"/>
              <a:gd name="connsiteY1" fmla="*/ 2517024 h 4179881"/>
              <a:gd name="connsiteX2" fmla="*/ 5866193 w 5866193"/>
              <a:gd name="connsiteY2" fmla="*/ 4179881 h 4179881"/>
              <a:gd name="connsiteX3" fmla="*/ 0 w 5866193"/>
              <a:gd name="connsiteY3" fmla="*/ 4179881 h 4179881"/>
              <a:gd name="connsiteX4" fmla="*/ 0 w 5866193"/>
              <a:gd name="connsiteY4" fmla="*/ 0 h 4179881"/>
              <a:gd name="connsiteX5" fmla="*/ 5866193 w 5866193"/>
              <a:gd name="connsiteY5" fmla="*/ 0 h 4179881"/>
              <a:gd name="connsiteX6" fmla="*/ 5866193 w 5866193"/>
              <a:gd name="connsiteY6" fmla="*/ 723905 h 4179881"/>
              <a:gd name="connsiteX7" fmla="*/ 5564470 w 5866193"/>
              <a:gd name="connsiteY7" fmla="*/ 723905 h 4179881"/>
              <a:gd name="connsiteX8" fmla="*/ 5564470 w 5866193"/>
              <a:gd name="connsiteY8" fmla="*/ 1254674 h 4179881"/>
              <a:gd name="connsiteX9" fmla="*/ 5197151 w 5866193"/>
              <a:gd name="connsiteY9" fmla="*/ 1639078 h 4179881"/>
              <a:gd name="connsiteX10" fmla="*/ 4058816 w 5866193"/>
              <a:gd name="connsiteY10" fmla="*/ 2217576 h 4179881"/>
              <a:gd name="connsiteX11" fmla="*/ 699796 w 5866193"/>
              <a:gd name="connsiteY11" fmla="*/ 4093029 h 4179881"/>
              <a:gd name="connsiteX12" fmla="*/ 678464 w 5866193"/>
              <a:gd name="connsiteY12" fmla="*/ 4179881 h 4179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866193" h="4179881">
                <a:moveTo>
                  <a:pt x="4670009" y="4179881"/>
                </a:moveTo>
                <a:lnTo>
                  <a:pt x="5866193" y="2517024"/>
                </a:lnTo>
                <a:lnTo>
                  <a:pt x="5866193" y="4179881"/>
                </a:lnTo>
                <a:close/>
                <a:moveTo>
                  <a:pt x="0" y="4179881"/>
                </a:moveTo>
                <a:lnTo>
                  <a:pt x="0" y="0"/>
                </a:lnTo>
                <a:lnTo>
                  <a:pt x="5866193" y="0"/>
                </a:lnTo>
                <a:lnTo>
                  <a:pt x="5866193" y="723905"/>
                </a:lnTo>
                <a:lnTo>
                  <a:pt x="5564470" y="723905"/>
                </a:lnTo>
                <a:lnTo>
                  <a:pt x="5564470" y="1254674"/>
                </a:lnTo>
                <a:lnTo>
                  <a:pt x="5197151" y="1639078"/>
                </a:lnTo>
                <a:lnTo>
                  <a:pt x="4058816" y="2217576"/>
                </a:lnTo>
                <a:lnTo>
                  <a:pt x="699796" y="4093029"/>
                </a:lnTo>
                <a:lnTo>
                  <a:pt x="678464" y="4179881"/>
                </a:lnTo>
                <a:close/>
              </a:path>
            </a:pathLst>
          </a:cu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24573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659D429E-0C12-4839-69F1-722D1EA641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0"/>
            <a:ext cx="4466050" cy="4900613"/>
          </a:xfrm>
          <a:prstGeom prst="rect">
            <a:avLst/>
          </a:prstGeom>
        </p:spPr>
      </p:pic>
      <p:sp>
        <p:nvSpPr>
          <p:cNvPr id="21" name="Freeform: Shape 10">
            <a:extLst>
              <a:ext uri="{FF2B5EF4-FFF2-40B4-BE49-F238E27FC236}">
                <a16:creationId xmlns:a16="http://schemas.microsoft.com/office/drawing/2014/main" id="{B7D69031-59E3-D73C-272C-007F13D615E5}"/>
              </a:ext>
            </a:extLst>
          </p:cNvPr>
          <p:cNvSpPr/>
          <p:nvPr userDrawn="1"/>
        </p:nvSpPr>
        <p:spPr>
          <a:xfrm rot="5400000">
            <a:off x="-3338827" y="3338828"/>
            <a:ext cx="6858000" cy="180345"/>
          </a:xfrm>
          <a:custGeom>
            <a:avLst/>
            <a:gdLst>
              <a:gd name="connsiteX0" fmla="*/ 0 w 6858000"/>
              <a:gd name="connsiteY0" fmla="*/ 180345 h 180345"/>
              <a:gd name="connsiteX1" fmla="*/ 0 w 6858000"/>
              <a:gd name="connsiteY1" fmla="*/ 107193 h 180345"/>
              <a:gd name="connsiteX2" fmla="*/ 380384 w 6858000"/>
              <a:gd name="connsiteY2" fmla="*/ 107193 h 180345"/>
              <a:gd name="connsiteX3" fmla="*/ 566707 w 6858000"/>
              <a:gd name="connsiteY3" fmla="*/ 0 h 180345"/>
              <a:gd name="connsiteX4" fmla="*/ 753030 w 6858000"/>
              <a:gd name="connsiteY4" fmla="*/ 107193 h 180345"/>
              <a:gd name="connsiteX5" fmla="*/ 6858000 w 6858000"/>
              <a:gd name="connsiteY5" fmla="*/ 107193 h 180345"/>
              <a:gd name="connsiteX6" fmla="*/ 6858000 w 6858000"/>
              <a:gd name="connsiteY6" fmla="*/ 180345 h 180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58000" h="180345">
                <a:moveTo>
                  <a:pt x="0" y="180345"/>
                </a:moveTo>
                <a:lnTo>
                  <a:pt x="0" y="107193"/>
                </a:lnTo>
                <a:lnTo>
                  <a:pt x="380384" y="107193"/>
                </a:lnTo>
                <a:lnTo>
                  <a:pt x="566707" y="0"/>
                </a:lnTo>
                <a:lnTo>
                  <a:pt x="753030" y="107193"/>
                </a:lnTo>
                <a:lnTo>
                  <a:pt x="6858000" y="107193"/>
                </a:lnTo>
                <a:lnTo>
                  <a:pt x="6858000" y="180345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US"/>
          </a:p>
        </p:txBody>
      </p:sp>
      <p:sp>
        <p:nvSpPr>
          <p:cNvPr id="10" name="Freeform: Shape 10">
            <a:extLst>
              <a:ext uri="{FF2B5EF4-FFF2-40B4-BE49-F238E27FC236}">
                <a16:creationId xmlns:a16="http://schemas.microsoft.com/office/drawing/2014/main" id="{753B671B-6454-165A-8B66-881045D9C3EF}"/>
              </a:ext>
            </a:extLst>
          </p:cNvPr>
          <p:cNvSpPr/>
          <p:nvPr userDrawn="1"/>
        </p:nvSpPr>
        <p:spPr>
          <a:xfrm rot="16200000" flipH="1">
            <a:off x="8672827" y="3338828"/>
            <a:ext cx="6858000" cy="180345"/>
          </a:xfrm>
          <a:custGeom>
            <a:avLst/>
            <a:gdLst>
              <a:gd name="connsiteX0" fmla="*/ 0 w 6858000"/>
              <a:gd name="connsiteY0" fmla="*/ 180345 h 180345"/>
              <a:gd name="connsiteX1" fmla="*/ 0 w 6858000"/>
              <a:gd name="connsiteY1" fmla="*/ 107193 h 180345"/>
              <a:gd name="connsiteX2" fmla="*/ 380384 w 6858000"/>
              <a:gd name="connsiteY2" fmla="*/ 107193 h 180345"/>
              <a:gd name="connsiteX3" fmla="*/ 566707 w 6858000"/>
              <a:gd name="connsiteY3" fmla="*/ 0 h 180345"/>
              <a:gd name="connsiteX4" fmla="*/ 753030 w 6858000"/>
              <a:gd name="connsiteY4" fmla="*/ 107193 h 180345"/>
              <a:gd name="connsiteX5" fmla="*/ 6858000 w 6858000"/>
              <a:gd name="connsiteY5" fmla="*/ 107193 h 180345"/>
              <a:gd name="connsiteX6" fmla="*/ 6858000 w 6858000"/>
              <a:gd name="connsiteY6" fmla="*/ 180345 h 180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58000" h="180345">
                <a:moveTo>
                  <a:pt x="0" y="180345"/>
                </a:moveTo>
                <a:lnTo>
                  <a:pt x="0" y="107193"/>
                </a:lnTo>
                <a:lnTo>
                  <a:pt x="380384" y="107193"/>
                </a:lnTo>
                <a:lnTo>
                  <a:pt x="566707" y="0"/>
                </a:lnTo>
                <a:lnTo>
                  <a:pt x="753030" y="107193"/>
                </a:lnTo>
                <a:lnTo>
                  <a:pt x="6858000" y="107193"/>
                </a:lnTo>
                <a:lnTo>
                  <a:pt x="6858000" y="180345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67A1C9-F883-76F0-7D1E-CD0EA16C07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EA67A9-38DF-D7A5-3B93-E4E035BA0C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0E3E56-9E76-8563-3E8C-602EFAE77C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BA88D-1BE8-428A-A9DC-FB89C6EC7C07}" type="datetime1">
              <a:rPr lang="en-AE" smtClean="0"/>
              <a:t>25/07/2025</a:t>
            </a:fld>
            <a:endParaRPr lang="en-A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CD8F35-580D-7B27-B376-F7E27EB8B0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algn="ctr" defTabSz="914400" rtl="1" eaLnBrk="1" latinLnBrk="0" hangingPunct="1"/>
            <a:endParaRPr lang="en-A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0C0A96-859E-C820-4236-446FC97A9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0F0306-F5AF-8E4C-BAB6-CD94A0334CF2}" type="slidenum">
              <a:rPr lang="en-AE" smtClean="0"/>
              <a:pPr/>
              <a:t>‹#›</a:t>
            </a:fld>
            <a:r>
              <a:rPr lang="en-AE" dirty="0"/>
              <a:t>/</a:t>
            </a:r>
            <a:r>
              <a:rPr lang="ar-AE" dirty="0"/>
              <a:t>36</a:t>
            </a:r>
            <a:endParaRPr lang="en-AE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2E5353A-5F04-A1B1-82F9-F4689FAF042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651625"/>
            <a:ext cx="12192000" cy="207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5913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_with background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AAD5985-8E0A-6DD0-D2DD-9A10A8B99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279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4" imgH="456" progId="TCLayout.ActiveDocument.1">
                  <p:embed/>
                </p:oleObj>
              </mc:Choice>
              <mc:Fallback>
                <p:oleObj name="think-cell Slide" r:id="rId3" imgW="454" imgH="45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AD5985-8E0A-6DD0-D2DD-9A10A8B99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phic 6">
            <a:extLst>
              <a:ext uri="{FF2B5EF4-FFF2-40B4-BE49-F238E27FC236}">
                <a16:creationId xmlns:a16="http://schemas.microsoft.com/office/drawing/2014/main" id="{C571CEAD-D648-D31B-A0CF-FBB0E9D12C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13393"/>
          <a:stretch>
            <a:fillRect/>
          </a:stretch>
        </p:blipFill>
        <p:spPr>
          <a:xfrm>
            <a:off x="4239050" y="760476"/>
            <a:ext cx="7952951" cy="5716524"/>
          </a:xfrm>
          <a:custGeom>
            <a:avLst/>
            <a:gdLst>
              <a:gd name="connsiteX0" fmla="*/ 0 w 7952951"/>
              <a:gd name="connsiteY0" fmla="*/ 0 h 5716524"/>
              <a:gd name="connsiteX1" fmla="*/ 7952951 w 7952951"/>
              <a:gd name="connsiteY1" fmla="*/ 0 h 5716524"/>
              <a:gd name="connsiteX2" fmla="*/ 7952951 w 7952951"/>
              <a:gd name="connsiteY2" fmla="*/ 5716524 h 5716524"/>
              <a:gd name="connsiteX3" fmla="*/ 0 w 7952951"/>
              <a:gd name="connsiteY3" fmla="*/ 5716524 h 5716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952951" h="5716524">
                <a:moveTo>
                  <a:pt x="0" y="0"/>
                </a:moveTo>
                <a:lnTo>
                  <a:pt x="7952951" y="0"/>
                </a:lnTo>
                <a:lnTo>
                  <a:pt x="7952951" y="5716524"/>
                </a:lnTo>
                <a:lnTo>
                  <a:pt x="0" y="5716524"/>
                </a:lnTo>
                <a:close/>
              </a:path>
            </a:pathLst>
          </a:cu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65042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_with background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AAD5985-8E0A-6DD0-D2DD-9A10A8B99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2098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4" imgH="456" progId="TCLayout.ActiveDocument.1">
                  <p:embed/>
                </p:oleObj>
              </mc:Choice>
              <mc:Fallback>
                <p:oleObj name="think-cell Slide" r:id="rId3" imgW="454" imgH="45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AD5985-8E0A-6DD0-D2DD-9A10A8B99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316A556-2017-0329-CBAE-606528D85FF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7075660" y="0"/>
            <a:ext cx="511634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082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_with background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AAD5985-8E0A-6DD0-D2DD-9A10A8B99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4922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4" imgH="456" progId="TCLayout.ActiveDocument.1">
                  <p:embed/>
                </p:oleObj>
              </mc:Choice>
              <mc:Fallback>
                <p:oleObj name="think-cell Slide" r:id="rId3" imgW="454" imgH="45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AD5985-8E0A-6DD0-D2DD-9A10A8B99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phic 8">
            <a:extLst>
              <a:ext uri="{FF2B5EF4-FFF2-40B4-BE49-F238E27FC236}">
                <a16:creationId xmlns:a16="http://schemas.microsoft.com/office/drawing/2014/main" id="{F316A556-2017-0329-CBAE-606528D85F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7155"/>
          <a:stretch/>
        </p:blipFill>
        <p:spPr>
          <a:xfrm flipH="1">
            <a:off x="8464988" y="0"/>
            <a:ext cx="3727012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631163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511443D-F61C-BB61-8BCE-1629C37CA9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4713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4" imgH="456" progId="TCLayout.ActiveDocument.1">
                  <p:embed/>
                </p:oleObj>
              </mc:Choice>
              <mc:Fallback>
                <p:oleObj name="think-cell Slide" r:id="rId3" imgW="454" imgH="45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1443D-F61C-BB61-8BCE-1629C37CA9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93312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642BE08-A876-6505-1BC7-CA8DC552A5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88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4" imgH="456" progId="TCLayout.ActiveDocument.1">
                  <p:embed/>
                </p:oleObj>
              </mc:Choice>
              <mc:Fallback>
                <p:oleObj name="think-cell Slide" r:id="rId3" imgW="454" imgH="45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42BE08-A876-6505-1BC7-CA8DC552A5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074136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0940605-1979-823E-CAC0-683CD9495F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318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940605-1979-823E-CAC0-683CD9495F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1000"/>
            <a:ext cx="11277600" cy="758952"/>
          </a:xfrm>
        </p:spPr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57200" y="1397000"/>
            <a:ext cx="112776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Janna LT (Body)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</a:t>
            </a:r>
            <a:r>
              <a:rPr lang="en-US"/>
              <a:t>8</a:t>
            </a:r>
            <a:r>
              <a:t> pt</a:t>
            </a:r>
          </a:p>
        </p:txBody>
      </p:sp>
    </p:spTree>
    <p:extLst>
      <p:ext uri="{BB962C8B-B14F-4D97-AF65-F5344CB8AC3E}">
        <p14:creationId xmlns:p14="http://schemas.microsoft.com/office/powerpoint/2010/main" val="38745797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E516A7D-954B-9652-E376-62DF1F1FD5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7925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4" imgH="456" progId="TCLayout.ActiveDocument.1">
                  <p:embed/>
                </p:oleObj>
              </mc:Choice>
              <mc:Fallback>
                <p:oleObj name="think-cell Slide" r:id="rId3" imgW="454" imgH="45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516A7D-954B-9652-E376-62DF1F1FD5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57200" y="1397000"/>
            <a:ext cx="11277600" cy="429768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800" b="1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400" dirty="0"/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</a:t>
            </a:r>
            <a:r>
              <a:rPr lang="en-US"/>
              <a:t>8</a:t>
            </a:r>
            <a:r>
              <a:t> pt</a:t>
            </a:r>
          </a:p>
        </p:txBody>
      </p:sp>
      <p:sp>
        <p:nvSpPr>
          <p:cNvPr id="4" name="Content"/>
          <p:cNvSpPr>
            <a:spLocks noGrp="1"/>
          </p:cNvSpPr>
          <p:nvPr>
            <p:ph idx="11"/>
          </p:nvPr>
        </p:nvSpPr>
        <p:spPr>
          <a:xfrm>
            <a:off x="457200" y="1866900"/>
            <a:ext cx="11277600" cy="4533900"/>
          </a:xfrm>
        </p:spPr>
        <p:txBody>
          <a:bodyPr/>
          <a:lstStyle>
            <a:lvl1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9795674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ortrait photo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4B6F131-C048-1703-43FB-83D96BA6B9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4592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B6F131-C048-1703-43FB-83D96BA6B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">
            <a:extLst>
              <a:ext uri="{FF2B5EF4-FFF2-40B4-BE49-F238E27FC236}">
                <a16:creationId xmlns:a16="http://schemas.microsoft.com/office/drawing/2014/main" id="{963C4256-FB04-439A-992B-410C423197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81000"/>
            <a:ext cx="7365998" cy="758952"/>
          </a:xfr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57199" y="1397000"/>
            <a:ext cx="73660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</a:t>
            </a:r>
            <a:r>
              <a:rPr lang="en-US"/>
              <a:t>8</a:t>
            </a:r>
            <a:r>
              <a:t> pt</a:t>
            </a:r>
          </a:p>
        </p:txBody>
      </p:sp>
      <p:sp>
        <p:nvSpPr>
          <p:cNvPr id="4" name="Content"/>
          <p:cNvSpPr>
            <a:spLocks noGrp="1"/>
          </p:cNvSpPr>
          <p:nvPr>
            <p:ph sz="half" idx="11"/>
          </p:nvPr>
        </p:nvSpPr>
        <p:spPr>
          <a:xfrm>
            <a:off x="457198" y="1866900"/>
            <a:ext cx="7366000" cy="4533900"/>
          </a:xfrm>
        </p:spPr>
        <p:txBody>
          <a:bodyPr/>
          <a:lstStyle>
            <a:lvl1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Picture">
            <a:extLst>
              <a:ext uri="{FF2B5EF4-FFF2-40B4-BE49-F238E27FC236}">
                <a16:creationId xmlns:a16="http://schemas.microsoft.com/office/drawing/2014/main" id="{0D3F1C2C-B46E-4074-AA0F-9EAD49A9905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280400" y="0"/>
            <a:ext cx="3911600" cy="6858000"/>
          </a:xfrm>
        </p:spPr>
        <p:txBody>
          <a:bodyPr tIns="640080" anchor="ctr"/>
          <a:lstStyle>
            <a:lvl1pPr marL="0" indent="0" algn="ctr">
              <a:buNone/>
              <a:defRPr sz="1400">
                <a:solidFill>
                  <a:srgbClr val="C3C3C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08576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152">
          <p15:clr>
            <a:srgbClr val="FBAE40"/>
          </p15:clr>
        </p15:guide>
        <p15:guide id="6" pos="4928">
          <p15:clr>
            <a:srgbClr val="FBAE40"/>
          </p15:clr>
        </p15:guide>
        <p15:guide id="9" pos="52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4F850FFC-E0B0-A3EE-9F7C-7379DB5E66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2763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850FFC-E0B0-A3EE-9F7C-7379DB5E66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497549" y="2807661"/>
            <a:ext cx="10747248" cy="948978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400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9pPr>
          </a:lstStyle>
          <a:p>
            <a:pPr lvl="0"/>
            <a:r>
              <a:rPr dirty="0"/>
              <a:t>Click to add section title</a:t>
            </a:r>
          </a:p>
          <a:p>
            <a:pPr lvl="1"/>
            <a:r>
              <a:rPr dirty="0"/>
              <a:t>Click to add section subtitle</a:t>
            </a: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97549" y="2119481"/>
            <a:ext cx="10747248" cy="566928"/>
          </a:xfrm>
        </p:spPr>
        <p:txBody>
          <a:bodyPr lIns="0" tIns="0" rIns="0" bIns="0" anchor="b"/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60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dirty="0"/>
              <a:t>##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7F348AE-033B-11FB-9AF5-41D8DDE88EFE}"/>
              </a:ext>
            </a:extLst>
          </p:cNvPr>
          <p:cNvGrpSpPr/>
          <p:nvPr userDrawn="1"/>
        </p:nvGrpSpPr>
        <p:grpSpPr>
          <a:xfrm>
            <a:off x="497549" y="4250825"/>
            <a:ext cx="814812" cy="817354"/>
            <a:chOff x="10502900" y="1329825"/>
            <a:chExt cx="814812" cy="817354"/>
          </a:xfrm>
          <a:solidFill>
            <a:schemeClr val="accent2"/>
          </a:soli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67FB447-B628-D173-4742-94F7E2A3B1B8}"/>
                </a:ext>
              </a:extLst>
            </p:cNvPr>
            <p:cNvSpPr/>
            <p:nvPr userDrawn="1"/>
          </p:nvSpPr>
          <p:spPr>
            <a:xfrm>
              <a:off x="10502900" y="1332367"/>
              <a:ext cx="153096" cy="8148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3066D04-25CA-9FD3-DB26-050DB1282DDB}"/>
                </a:ext>
              </a:extLst>
            </p:cNvPr>
            <p:cNvSpPr/>
            <p:nvPr userDrawn="1"/>
          </p:nvSpPr>
          <p:spPr>
            <a:xfrm rot="16200000">
              <a:off x="10833758" y="998967"/>
              <a:ext cx="153096" cy="8148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81894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4F850FFC-E0B0-A3EE-9F7C-7379DB5E66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10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850FFC-E0B0-A3EE-9F7C-7379DB5E66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497549" y="2910912"/>
            <a:ext cx="5043172" cy="1564531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400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9pPr>
          </a:lstStyle>
          <a:p>
            <a:pPr lvl="0"/>
            <a:r>
              <a:rPr dirty="0"/>
              <a:t>Click to add </a:t>
            </a:r>
            <a:br>
              <a:rPr lang="en-US" dirty="0"/>
            </a:br>
            <a:r>
              <a:rPr dirty="0"/>
              <a:t>section title</a:t>
            </a:r>
          </a:p>
          <a:p>
            <a:pPr lvl="1"/>
            <a:r>
              <a:rPr dirty="0"/>
              <a:t>Click to add section subtitle</a:t>
            </a: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97549" y="2119481"/>
            <a:ext cx="5043172" cy="566928"/>
          </a:xfrm>
        </p:spPr>
        <p:txBody>
          <a:bodyPr lIns="0" tIns="0" rIns="0" bIns="0" anchor="b"/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60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t>##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CF9F415-5E2E-6786-DD71-B3981E586714}"/>
              </a:ext>
            </a:extLst>
          </p:cNvPr>
          <p:cNvGrpSpPr/>
          <p:nvPr userDrawn="1"/>
        </p:nvGrpSpPr>
        <p:grpSpPr>
          <a:xfrm>
            <a:off x="497549" y="4805890"/>
            <a:ext cx="814812" cy="817354"/>
            <a:chOff x="10502900" y="1329825"/>
            <a:chExt cx="814812" cy="817354"/>
          </a:xfrm>
          <a:solidFill>
            <a:schemeClr val="accent2"/>
          </a:solidFill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C86C339-595E-2AD6-21FA-404A965D05D1}"/>
                </a:ext>
              </a:extLst>
            </p:cNvPr>
            <p:cNvSpPr/>
            <p:nvPr userDrawn="1"/>
          </p:nvSpPr>
          <p:spPr>
            <a:xfrm>
              <a:off x="10502900" y="1332367"/>
              <a:ext cx="153096" cy="8148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FA2831B-CE6A-00D4-8AE9-447C81F2C30E}"/>
                </a:ext>
              </a:extLst>
            </p:cNvPr>
            <p:cNvSpPr/>
            <p:nvPr userDrawn="1"/>
          </p:nvSpPr>
          <p:spPr>
            <a:xfrm rot="16200000">
              <a:off x="10833758" y="998967"/>
              <a:ext cx="153096" cy="8148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61899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B59962-4AE6-3F6F-C190-7371569BE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C64A26-9EE4-670D-BF9E-658757C67B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6B080A-C4AF-9CA3-853D-9A1ED2394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AE80B-277D-4183-93D9-9D27C2923572}" type="datetime1">
              <a:rPr lang="en-AE" smtClean="0"/>
              <a:t>25/07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D86A31-E53E-AAAF-A628-C08699D568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052FFB-7CC8-B5BE-2CB1-643D2C504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0F0306-F5AF-8E4C-BAB6-CD94A0334CF2}" type="slidenum">
              <a:rPr lang="en-AE" smtClean="0"/>
              <a:pPr/>
              <a:t>‹#›</a:t>
            </a:fld>
            <a:r>
              <a:rPr lang="en-AE" dirty="0"/>
              <a:t>/</a:t>
            </a:r>
            <a:r>
              <a:rPr lang="ar-AE" dirty="0"/>
              <a:t>36</a:t>
            </a:r>
            <a:endParaRPr lang="en-AE" dirty="0"/>
          </a:p>
        </p:txBody>
      </p:sp>
    </p:spTree>
    <p:extLst>
      <p:ext uri="{BB962C8B-B14F-4D97-AF65-F5344CB8AC3E}">
        <p14:creationId xmlns:p14="http://schemas.microsoft.com/office/powerpoint/2010/main" val="13327003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14A6A4A-FC03-05DB-D6A3-A8201582B2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5754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4A6A4A-FC03-05DB-D6A3-A8201582B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1000"/>
            <a:ext cx="11277600" cy="758952"/>
          </a:xfrm>
        </p:spPr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Left"/>
          <p:cNvSpPr>
            <a:spLocks noGrp="1"/>
          </p:cNvSpPr>
          <p:nvPr>
            <p:ph idx="11"/>
          </p:nvPr>
        </p:nvSpPr>
        <p:spPr>
          <a:xfrm>
            <a:off x="457200" y="1397000"/>
            <a:ext cx="5410200" cy="5003800"/>
          </a:xfrm>
        </p:spPr>
        <p:txBody>
          <a:bodyPr/>
          <a:lstStyle>
            <a:lvl1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Right"/>
          <p:cNvSpPr>
            <a:spLocks noGrp="1"/>
          </p:cNvSpPr>
          <p:nvPr>
            <p:ph idx="12"/>
          </p:nvPr>
        </p:nvSpPr>
        <p:spPr>
          <a:xfrm>
            <a:off x="6324600" y="1397000"/>
            <a:ext cx="5410199" cy="5003800"/>
          </a:xfrm>
        </p:spPr>
        <p:txBody>
          <a:bodyPr/>
          <a:lstStyle>
            <a:lvl1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581710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3696">
          <p15:clr>
            <a:srgbClr val="FBAE40"/>
          </p15:clr>
        </p15:guide>
        <p15:guide id="5" pos="398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689FD06-3D13-6C04-255A-886DE4F9C4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440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4" imgH="456" progId="TCLayout.ActiveDocument.1">
                  <p:embed/>
                </p:oleObj>
              </mc:Choice>
              <mc:Fallback>
                <p:oleObj name="think-cell Slide" r:id="rId3" imgW="454" imgH="45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89FD06-3D13-6C04-255A-886DE4F9C4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7000"/>
            <a:ext cx="54102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</a:t>
            </a:r>
            <a:r>
              <a:rPr lang="en-US"/>
              <a:t>8</a:t>
            </a:r>
            <a:r>
              <a:t> pt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24600" y="1397000"/>
            <a:ext cx="5410198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</a:t>
            </a:r>
            <a:r>
              <a:rPr lang="en-US"/>
              <a:t>8</a:t>
            </a:r>
            <a:r>
              <a:t> pt</a:t>
            </a:r>
          </a:p>
        </p:txBody>
      </p:sp>
    </p:spTree>
    <p:extLst>
      <p:ext uri="{BB962C8B-B14F-4D97-AF65-F5344CB8AC3E}">
        <p14:creationId xmlns:p14="http://schemas.microsoft.com/office/powerpoint/2010/main" val="13479771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696">
          <p15:clr>
            <a:srgbClr val="FBAE40"/>
          </p15:clr>
        </p15:guide>
        <p15:guide id="7" pos="3984">
          <p15:clr>
            <a:srgbClr val="FBAE40"/>
          </p15:clr>
        </p15:guide>
        <p15:guide id="9" orient="horz" pos="115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12C2FE97-F3B3-054C-F56C-D53EDD7694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698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C2FE97-F3B3-054C-F56C-D53EDD769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1000"/>
            <a:ext cx="11277600" cy="758952"/>
          </a:xfrm>
        </p:spPr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7000"/>
            <a:ext cx="54102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</a:t>
            </a:r>
            <a:r>
              <a:rPr lang="en-US"/>
              <a:t>8</a:t>
            </a:r>
            <a:r>
              <a:t>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866900"/>
            <a:ext cx="5410200" cy="4533899"/>
          </a:xfrm>
        </p:spPr>
        <p:txBody>
          <a:bodyPr/>
          <a:lstStyle>
            <a:lvl1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24600" y="1397000"/>
            <a:ext cx="54102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</a:t>
            </a:r>
            <a:r>
              <a:rPr lang="en-US"/>
              <a:t>8</a:t>
            </a:r>
            <a:r>
              <a:t>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6324600" y="1866900"/>
            <a:ext cx="5410200" cy="4533899"/>
          </a:xfrm>
        </p:spPr>
        <p:txBody>
          <a:bodyPr/>
          <a:lstStyle>
            <a:lvl1pPr rtl="0"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rtl="0"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rtl="0"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rtl="0"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rtl="0"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229432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696">
          <p15:clr>
            <a:srgbClr val="FBAE40"/>
          </p15:clr>
        </p15:guide>
        <p15:guide id="7" pos="3984">
          <p15:clr>
            <a:srgbClr val="FBAE40"/>
          </p15:clr>
        </p15:guide>
        <p15:guide id="9" orient="horz" pos="115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61BE9A5-8ED0-434C-CC73-C1CFF22CE8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4587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4" imgH="456" progId="TCLayout.ActiveDocument.1">
                  <p:embed/>
                </p:oleObj>
              </mc:Choice>
              <mc:Fallback>
                <p:oleObj name="think-cell Slide" r:id="rId3" imgW="454" imgH="45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1BE9A5-8ED0-434C-CC73-C1CFF22CE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ontents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587962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D158C02-0D64-325C-DFEE-8201833745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8393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4" imgH="456" progId="TCLayout.ActiveDocument.1">
                  <p:embed/>
                </p:oleObj>
              </mc:Choice>
              <mc:Fallback>
                <p:oleObj name="think-cell Slide" r:id="rId3" imgW="454" imgH="45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158C02-0D64-325C-DFEE-8201833745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221646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D158C02-0D64-325C-DFEE-8201833745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457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4" imgH="456" progId="TCLayout.ActiveDocument.1">
                  <p:embed/>
                </p:oleObj>
              </mc:Choice>
              <mc:Fallback>
                <p:oleObj name="think-cell Slide" r:id="rId3" imgW="454" imgH="45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158C02-0D64-325C-DFEE-8201833745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9885328E-C807-17BC-D0BE-A2312DDB728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0" y="0"/>
            <a:ext cx="5981157" cy="6858000"/>
          </a:xfrm>
          <a:prstGeom prst="rect">
            <a:avLst/>
          </a:prstGeom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81E5839A-C0CB-8A9D-DC2C-71F69EB28748}"/>
              </a:ext>
            </a:extLst>
          </p:cNvPr>
          <p:cNvSpPr/>
          <p:nvPr userDrawn="1"/>
        </p:nvSpPr>
        <p:spPr>
          <a:xfrm flipH="1">
            <a:off x="12700" y="-25400"/>
            <a:ext cx="9245600" cy="5537200"/>
          </a:xfrm>
          <a:custGeom>
            <a:avLst/>
            <a:gdLst>
              <a:gd name="connsiteX0" fmla="*/ 9245600 w 9245600"/>
              <a:gd name="connsiteY0" fmla="*/ 2336800 h 5537200"/>
              <a:gd name="connsiteX1" fmla="*/ 3644900 w 9245600"/>
              <a:gd name="connsiteY1" fmla="*/ 5537200 h 5537200"/>
              <a:gd name="connsiteX2" fmla="*/ 0 w 9245600"/>
              <a:gd name="connsiteY2" fmla="*/ 0 h 553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45600" h="5537200">
                <a:moveTo>
                  <a:pt x="9245600" y="2336800"/>
                </a:moveTo>
                <a:lnTo>
                  <a:pt x="3644900" y="5537200"/>
                </a:lnTo>
                <a:lnTo>
                  <a:pt x="0" y="0"/>
                </a:lnTo>
              </a:path>
            </a:pathLst>
          </a:custGeom>
          <a:noFill/>
          <a:ln w="47625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A30FB83-A5E8-84A1-8FDA-2722C73F99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049523"/>
            <a:ext cx="11277600" cy="758952"/>
          </a:xfrm>
        </p:spPr>
        <p:txBody>
          <a:bodyPr vert="horz" lIns="0" tIns="0" rIns="0" bIns="0" rtlCol="0" anchorCtr="0">
            <a:noAutofit/>
          </a:bodyPr>
          <a:lstStyle>
            <a:lvl1pPr marL="179994" indent="-179994">
              <a:buFont typeface="Arial" panose="020B0604020202020204" pitchFamily="34" charset="0"/>
              <a:buChar char="•"/>
              <a:defRPr lang="en-GB" sz="4800" b="0" cap="none" baseline="0" dirty="0">
                <a:solidFill>
                  <a:schemeClr val="accent2"/>
                </a:solidFill>
                <a:ea typeface="+mj-ea"/>
              </a:defRPr>
            </a:lvl1pPr>
          </a:lstStyle>
          <a:p>
            <a:pPr lvl="0" algn="r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/>
              <a:t>THANK YOU!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00710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D158C02-0D64-325C-DFEE-8201833745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8393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4" imgH="456" progId="TCLayout.ActiveDocument.1">
                  <p:embed/>
                </p:oleObj>
              </mc:Choice>
              <mc:Fallback>
                <p:oleObj name="think-cell Slide" r:id="rId3" imgW="454" imgH="45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158C02-0D64-325C-DFEE-8201833745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A60B661-7BA4-B59D-4F60-649E812006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54" r="1"/>
          <a:stretch/>
        </p:blipFill>
        <p:spPr>
          <a:xfrm>
            <a:off x="4314902" y="2905151"/>
            <a:ext cx="3562196" cy="1047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9106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8672FD-5585-900F-2D43-B679536E859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5F5FD"/>
          </a:solidFill>
          <a:ln w="9525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US" sz="1400" kern="0" dirty="0">
              <a:solidFill>
                <a:schemeClr val="tx1"/>
              </a:solidFill>
            </a:endParaRPr>
          </a:p>
        </p:txBody>
      </p:sp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832AB084-6B91-59C8-1803-ADF5653BF7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15697" y="-12701"/>
            <a:ext cx="5789110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4AB3301-4AF6-6BF0-A2E7-6F6F01968366}"/>
              </a:ext>
            </a:extLst>
          </p:cNvPr>
          <p:cNvSpPr txBox="1"/>
          <p:nvPr userDrawn="1"/>
        </p:nvSpPr>
        <p:spPr>
          <a:xfrm>
            <a:off x="199574" y="2828313"/>
            <a:ext cx="4367076" cy="5109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3860"/>
              </a:lnSpc>
              <a:spcBef>
                <a:spcPts val="1200"/>
              </a:spcBef>
            </a:pPr>
            <a:r>
              <a:rPr lang="en-US" sz="3600" kern="0" dirty="0">
                <a:solidFill>
                  <a:srgbClr val="303B4C"/>
                </a:solidFill>
                <a:latin typeface="Avenir" panose="02000503020000020003" pitchFamily="2" charset="0"/>
              </a:rPr>
              <a:t>Thank You!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5E07688-70E3-DAD2-EF65-F7EBDBA31A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20848" y="-26275"/>
            <a:ext cx="2482835" cy="81430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929623C-DA75-7B09-6AAB-B52B18E22D44}"/>
              </a:ext>
            </a:extLst>
          </p:cNvPr>
          <p:cNvSpPr txBox="1"/>
          <p:nvPr userDrawn="1"/>
        </p:nvSpPr>
        <p:spPr>
          <a:xfrm>
            <a:off x="199574" y="6489084"/>
            <a:ext cx="1230786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CA" sz="1400" b="1" dirty="0" err="1">
                <a:solidFill>
                  <a:srgbClr val="303B4C"/>
                </a:solidFill>
                <a:latin typeface="Avenir Book" panose="02000503020000020003" pitchFamily="2" charset="0"/>
                <a:cs typeface="Janna LT" pitchFamily="2" charset="-78"/>
              </a:rPr>
              <a:t>dmt.gov.ae</a:t>
            </a:r>
            <a:endParaRPr lang="en-CA" sz="1400" b="1" dirty="0">
              <a:solidFill>
                <a:srgbClr val="303B4C"/>
              </a:solidFill>
              <a:latin typeface="Avenir Book" panose="02000503020000020003" pitchFamily="2" charset="0"/>
              <a:cs typeface="Janna LT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2467306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B6DC82-8116-5238-0573-9057900F9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36C56F-9962-7B29-4325-8432C184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4BEAEC6-C457-0AB0-835B-903AEBA1E7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DAC07F5-2FD6-B666-A8FB-3F6E87DA35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A916D7-C41A-498C-8894-E524097A3343}" type="datetime1">
              <a:rPr lang="en-AE" smtClean="0"/>
              <a:t>25/07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07132F-854E-634C-7890-3BDAF8A56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29C086-669C-35AF-56A7-DBB1B7A52D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0F0306-F5AF-8E4C-BAB6-CD94A0334CF2}" type="slidenum">
              <a:rPr lang="en-AE" smtClean="0"/>
              <a:pPr/>
              <a:t>‹#›</a:t>
            </a:fld>
            <a:r>
              <a:rPr lang="en-AE" dirty="0"/>
              <a:t>/</a:t>
            </a:r>
            <a:r>
              <a:rPr lang="ar-AE" dirty="0"/>
              <a:t> 36</a:t>
            </a:r>
            <a:endParaRPr lang="en-AE" dirty="0"/>
          </a:p>
        </p:txBody>
      </p:sp>
    </p:spTree>
    <p:extLst>
      <p:ext uri="{BB962C8B-B14F-4D97-AF65-F5344CB8AC3E}">
        <p14:creationId xmlns:p14="http://schemas.microsoft.com/office/powerpoint/2010/main" val="31993402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1B204C-255B-7162-E547-EAF2140D7F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F9AC01-375A-AB82-4A20-97871B5D5A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162586-7855-F678-7275-423A71E9AF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54120E-A2AA-6331-D124-0D6F8E80E0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F3E6EE8-77F3-0659-C955-34E785A795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9C99B40-12BF-3D3D-877B-516F8D05F5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160108-056F-4D5D-AC89-92A107A375B3}" type="datetime1">
              <a:rPr lang="en-AE" smtClean="0"/>
              <a:t>25/07/2025</a:t>
            </a:fld>
            <a:endParaRPr lang="en-A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63598EC-EDFC-34F7-382A-731B22736B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CF2BC1-596C-7CBA-F8A9-FCFA57E82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0F0306-F5AF-8E4C-BAB6-CD94A0334CF2}" type="slidenum">
              <a:rPr lang="en-AE" smtClean="0"/>
              <a:pPr/>
              <a:t>‹#›</a:t>
            </a:fld>
            <a:r>
              <a:rPr lang="en-AE" dirty="0"/>
              <a:t>/</a:t>
            </a:r>
            <a:r>
              <a:rPr lang="ar-AE" dirty="0"/>
              <a:t> 36</a:t>
            </a:r>
            <a:endParaRPr lang="en-AE" dirty="0"/>
          </a:p>
        </p:txBody>
      </p:sp>
    </p:spTree>
    <p:extLst>
      <p:ext uri="{BB962C8B-B14F-4D97-AF65-F5344CB8AC3E}">
        <p14:creationId xmlns:p14="http://schemas.microsoft.com/office/powerpoint/2010/main" val="7743472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111552-7CF2-8595-EDB2-7A9B6BAA5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F077AF4-A5C8-CC3C-E386-14C316CF98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A2917-7F9E-43E0-9BFE-8BB83DAFF891}" type="datetime1">
              <a:rPr lang="en-AE" smtClean="0"/>
              <a:t>25/07/2025</a:t>
            </a:fld>
            <a:endParaRPr lang="en-A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B91B86-9FFB-2B92-346E-A34D453083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8D8952-12DA-C428-2527-A19027C4B7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0F0306-F5AF-8E4C-BAB6-CD94A0334CF2}" type="slidenum">
              <a:rPr lang="en-AE" smtClean="0"/>
              <a:pPr/>
              <a:t>‹#›</a:t>
            </a:fld>
            <a:r>
              <a:rPr lang="en-AE" dirty="0"/>
              <a:t>/</a:t>
            </a:r>
            <a:r>
              <a:rPr lang="ar-AE" dirty="0"/>
              <a:t> 36</a:t>
            </a:r>
            <a:endParaRPr lang="en-AE" dirty="0"/>
          </a:p>
        </p:txBody>
      </p:sp>
    </p:spTree>
    <p:extLst>
      <p:ext uri="{BB962C8B-B14F-4D97-AF65-F5344CB8AC3E}">
        <p14:creationId xmlns:p14="http://schemas.microsoft.com/office/powerpoint/2010/main" val="28005482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A8388DB-1056-EDF8-0D18-1CDDE3D324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7E9543-B5CA-4F68-89FE-F7548C172736}" type="datetime1">
              <a:rPr lang="en-AE" smtClean="0"/>
              <a:t>25/07/2025</a:t>
            </a:fld>
            <a:endParaRPr lang="en-A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9E67A-8B01-E979-0977-1FE296CD2B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0B43EF-D423-165B-2782-41D88C229E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0F0306-F5AF-8E4C-BAB6-CD94A0334CF2}" type="slidenum">
              <a:rPr lang="en-AE" smtClean="0"/>
              <a:pPr/>
              <a:t>‹#›</a:t>
            </a:fld>
            <a:r>
              <a:rPr lang="en-AE" dirty="0"/>
              <a:t>/</a:t>
            </a:r>
            <a:r>
              <a:rPr lang="ar-AE" dirty="0"/>
              <a:t> 36</a:t>
            </a:r>
            <a:endParaRPr lang="en-AE" dirty="0"/>
          </a:p>
        </p:txBody>
      </p:sp>
    </p:spTree>
    <p:extLst>
      <p:ext uri="{BB962C8B-B14F-4D97-AF65-F5344CB8AC3E}">
        <p14:creationId xmlns:p14="http://schemas.microsoft.com/office/powerpoint/2010/main" val="21020456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E34CDC-28A8-8A63-BE37-B1B5E5045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AE82FA-A93A-1E2B-1DAE-897604938A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E4B37A-D28E-FA5A-02C9-FF998650A8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58D6ED6-B81A-4A9F-EB23-47E086416D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50D287-1F33-4823-AC06-8A4399954A22}" type="datetime1">
              <a:rPr lang="en-AE" smtClean="0"/>
              <a:t>25/07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364016-DFFB-D522-DF3E-AB97C08FE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7F82711-C891-A008-07B5-9DE496847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0F0306-F5AF-8E4C-BAB6-CD94A0334CF2}" type="slidenum">
              <a:rPr lang="en-AE" smtClean="0"/>
              <a:pPr/>
              <a:t>‹#›</a:t>
            </a:fld>
            <a:r>
              <a:rPr lang="en-AE" dirty="0"/>
              <a:t>/</a:t>
            </a:r>
            <a:r>
              <a:rPr lang="ar-AE" dirty="0"/>
              <a:t> 36</a:t>
            </a:r>
            <a:endParaRPr lang="en-AE" dirty="0"/>
          </a:p>
        </p:txBody>
      </p:sp>
    </p:spTree>
    <p:extLst>
      <p:ext uri="{BB962C8B-B14F-4D97-AF65-F5344CB8AC3E}">
        <p14:creationId xmlns:p14="http://schemas.microsoft.com/office/powerpoint/2010/main" val="23561600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568AC5-DD10-2E6A-8355-52CE89A39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28D5382-4BDD-4E18-8ECB-C488A3CA873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F14DFC-4C93-6753-6904-2BEE95073A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BC02C86-CCD2-6D0D-8841-DA8070D876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5E7017-7A3D-439D-AD12-B7067B65514F}" type="datetime1">
              <a:rPr lang="en-AE" smtClean="0"/>
              <a:t>25/07/2025</a:t>
            </a:fld>
            <a:endParaRPr lang="en-A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175E2E-EB5D-AFE7-FD50-825A8256C8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A262D8-0E51-9306-19C3-F80A6A9C78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0F0306-F5AF-8E4C-BAB6-CD94A0334CF2}" type="slidenum">
              <a:rPr lang="en-AE" smtClean="0"/>
              <a:pPr/>
              <a:t>‹#›</a:t>
            </a:fld>
            <a:r>
              <a:rPr lang="en-AE" dirty="0"/>
              <a:t>/</a:t>
            </a:r>
            <a:r>
              <a:rPr lang="ar-AE" dirty="0"/>
              <a:t> 36</a:t>
            </a:r>
            <a:endParaRPr lang="en-AE" dirty="0"/>
          </a:p>
        </p:txBody>
      </p:sp>
    </p:spTree>
    <p:extLst>
      <p:ext uri="{BB962C8B-B14F-4D97-AF65-F5344CB8AC3E}">
        <p14:creationId xmlns:p14="http://schemas.microsoft.com/office/powerpoint/2010/main" val="15305474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image" Target="../media/image4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287D8C-A614-B61C-39F9-99E959A8A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2B700F-D195-FBE6-8AAD-6FC0E07A28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CC4768-1DDF-447E-5B4D-4A54AE49EF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D16DE1-24E6-48B6-959B-A877470FE160}" type="datetime1">
              <a:rPr lang="en-AE" smtClean="0"/>
              <a:t>25/07/2025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8C4DA1-18B8-C171-7B47-2282B82007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9FBF38-8DBD-EC21-9420-6CAC1C1447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0F0306-F5AF-8E4C-BAB6-CD94A0334CF2}" type="slidenum">
              <a:rPr lang="en-AE" smtClean="0"/>
              <a:pPr/>
              <a:t>‹#›</a:t>
            </a:fld>
            <a:r>
              <a:rPr lang="en-AE" dirty="0"/>
              <a:t>/</a:t>
            </a:r>
            <a:r>
              <a:rPr lang="ar-AE" dirty="0"/>
              <a:t>36</a:t>
            </a:r>
            <a:endParaRPr lang="en-AE" dirty="0"/>
          </a:p>
        </p:txBody>
      </p:sp>
    </p:spTree>
    <p:extLst>
      <p:ext uri="{BB962C8B-B14F-4D97-AF65-F5344CB8AC3E}">
        <p14:creationId xmlns:p14="http://schemas.microsoft.com/office/powerpoint/2010/main" val="3201816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761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395010EC-5C4B-C44D-C948-E14FDBD132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66574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47" imgH="348" progId="TCLayout.ActiveDocument.1">
                  <p:embed/>
                </p:oleObj>
              </mc:Choice>
              <mc:Fallback>
                <p:oleObj name="think-cell Slide" r:id="rId28" imgW="347" imgH="34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5010EC-5C4B-C44D-C948-E14FDBD132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1000"/>
            <a:ext cx="11277600" cy="758952"/>
          </a:xfrm>
          <a:prstGeom prst="rect">
            <a:avLst/>
          </a:prstGeom>
        </p:spPr>
        <p:txBody>
          <a:bodyPr vert="horz" lIns="0" tIns="0" rIns="0" bIns="0" rtlCol="0" anchorCtr="0">
            <a:noAutofit/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457200" y="1397000"/>
            <a:ext cx="11277600" cy="5003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580573" y="6864350"/>
            <a:ext cx="39914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7ECE2914-4E17-487A-A4E5-C87617449E51}" type="datetimeFigureOut">
              <a:rPr lang="en-GB" smtClean="0"/>
              <a:pPr/>
              <a:t>25/07/2025</a:t>
            </a:fld>
            <a:endParaRPr lang="en-GB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979714" y="6864350"/>
            <a:ext cx="67733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3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657048" y="6864350"/>
            <a:ext cx="193524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F63CC74-D785-4C96-8C6E-EB177D1B9A1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lideNumber"/>
          <p:cNvSpPr txBox="1"/>
          <p:nvPr userDrawn="1"/>
        </p:nvSpPr>
        <p:spPr>
          <a:xfrm>
            <a:off x="11584118" y="6552456"/>
            <a:ext cx="15068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indent="0" algn="r" defTabSz="9143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63CC74-D785-4C96-8C6E-EB177D1B9A1D}" type="slidenum">
              <a:rPr lang="en-GB" sz="100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marR="0" indent="0" algn="r" defTabSz="9143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1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Copyright"/>
          <p:cNvSpPr txBox="1"/>
          <p:nvPr userDrawn="1"/>
        </p:nvSpPr>
        <p:spPr>
          <a:xfrm>
            <a:off x="9342964" y="6567844"/>
            <a:ext cx="1840247" cy="12311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indent="0" algn="r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GB" sz="800" b="0" i="0" u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partment of Municipalities and Transport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B20B78E-6116-6FCC-0783-06930D9DFDFA}"/>
              </a:ext>
            </a:extLst>
          </p:cNvPr>
          <p:cNvCxnSpPr/>
          <p:nvPr userDrawn="1"/>
        </p:nvCxnSpPr>
        <p:spPr>
          <a:xfrm>
            <a:off x="11383665" y="6552456"/>
            <a:ext cx="0" cy="153888"/>
          </a:xfrm>
          <a:prstGeom prst="line">
            <a:avLst/>
          </a:prstGeom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0011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  <p:sldLayoutId id="2147483754" r:id="rId19"/>
    <p:sldLayoutId id="2147483755" r:id="rId20"/>
    <p:sldLayoutId id="2147483756" r:id="rId21"/>
    <p:sldLayoutId id="2147483757" r:id="rId22"/>
    <p:sldLayoutId id="2147483758" r:id="rId23"/>
    <p:sldLayoutId id="2147483759" r:id="rId24"/>
    <p:sldLayoutId id="2147483760" r:id="rId25"/>
  </p:sldLayoutIdLst>
  <p:txStyles>
    <p:titleStyle>
      <a:lvl1pPr algn="l" defTabSz="914370" rtl="0" eaLnBrk="1" latinLnBrk="0" hangingPunct="1">
        <a:lnSpc>
          <a:spcPct val="90000"/>
        </a:lnSpc>
        <a:spcBef>
          <a:spcPct val="0"/>
        </a:spcBef>
        <a:buNone/>
        <a:defRPr lang="en-GB" sz="2400" b="1" kern="0" cap="none" baseline="0" dirty="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179994" indent="-179994" algn="l" defTabSz="914370" rtl="0" eaLnBrk="1" latinLnBrk="0" hangingPunct="1">
        <a:spcBef>
          <a:spcPts val="600"/>
        </a:spcBef>
        <a:buFont typeface="Arial" panose="020B0604020202020204" pitchFamily="34" charset="0"/>
        <a:buChar char="•"/>
        <a:defRPr sz="1600" ker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359988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–"/>
        <a:defRPr sz="1600" ker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539982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600" ker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719977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600" ker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899971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600" ker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079965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6pPr>
      <a:lvl7pPr marL="1259959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7pPr>
      <a:lvl8pPr marL="1439953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8pPr>
      <a:lvl9pPr marL="1619947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/>
      <a:lvl1pPr marL="0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1pPr>
      <a:lvl2pPr marL="179994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2pPr>
      <a:lvl3pPr marL="359988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3pPr>
      <a:lvl4pPr marL="539982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4pPr>
      <a:lvl5pPr marL="719977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5pPr>
      <a:lvl6pPr marL="899971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6pPr>
      <a:lvl7pPr marL="1079965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7pPr>
      <a:lvl8pPr marL="1259959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8pPr>
      <a:lvl9pPr marL="1439953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F26B43"/>
          </p15:clr>
        </p15:guide>
        <p15:guide id="3" pos="288">
          <p15:clr>
            <a:srgbClr val="F26B43"/>
          </p15:clr>
        </p15:guide>
        <p15:guide id="4" pos="7392">
          <p15:clr>
            <a:srgbClr val="F26B43"/>
          </p15:clr>
        </p15:guide>
        <p15:guide id="6" orient="horz" pos="4032">
          <p15:clr>
            <a:srgbClr val="F26B43"/>
          </p15:clr>
        </p15:guide>
        <p15:guide id="7" orient="horz" pos="873">
          <p15:clr>
            <a:srgbClr val="F26B43"/>
          </p15:clr>
        </p15:guide>
        <p15:guide id="8" orient="horz" pos="11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moon in the sky&#10;&#10;Description automatically generated">
            <a:extLst>
              <a:ext uri="{FF2B5EF4-FFF2-40B4-BE49-F238E27FC236}">
                <a16:creationId xmlns:a16="http://schemas.microsoft.com/office/drawing/2014/main" id="{DE60AAA3-7341-EF26-D328-CDFDD59CDA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578"/>
          <a:stretch/>
        </p:blipFill>
        <p:spPr>
          <a:xfrm>
            <a:off x="0" y="0"/>
            <a:ext cx="5537231" cy="6857330"/>
          </a:xfrm>
          <a:prstGeom prst="rect">
            <a:avLst/>
          </a:prstGeom>
        </p:spPr>
      </p:pic>
      <p:pic>
        <p:nvPicPr>
          <p:cNvPr id="4" name="Picture Placeholder 4">
            <a:extLst>
              <a:ext uri="{FF2B5EF4-FFF2-40B4-BE49-F238E27FC236}">
                <a16:creationId xmlns:a16="http://schemas.microsoft.com/office/drawing/2014/main" id="{0D003082-3026-FBD1-393D-09BC7E2E8A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14" r="21814"/>
          <a:stretch/>
        </p:blipFill>
        <p:spPr>
          <a:xfrm>
            <a:off x="979768" y="1817726"/>
            <a:ext cx="3222548" cy="3222548"/>
          </a:xfrm>
          <a:custGeom>
            <a:avLst/>
            <a:gdLst>
              <a:gd name="connsiteX0" fmla="*/ 762000 w 1524000"/>
              <a:gd name="connsiteY0" fmla="*/ 0 h 1524000"/>
              <a:gd name="connsiteX1" fmla="*/ 1524000 w 1524000"/>
              <a:gd name="connsiteY1" fmla="*/ 762000 h 1524000"/>
              <a:gd name="connsiteX2" fmla="*/ 762000 w 1524000"/>
              <a:gd name="connsiteY2" fmla="*/ 1524000 h 1524000"/>
              <a:gd name="connsiteX3" fmla="*/ 0 w 1524000"/>
              <a:gd name="connsiteY3" fmla="*/ 762000 h 1524000"/>
              <a:gd name="connsiteX4" fmla="*/ 762000 w 1524000"/>
              <a:gd name="connsiteY4" fmla="*/ 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762000" y="0"/>
                </a:move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ubicBezTo>
                  <a:pt x="0" y="341159"/>
                  <a:pt x="341159" y="0"/>
                  <a:pt x="762000" y="0"/>
                </a:cubicBezTo>
                <a:close/>
              </a:path>
            </a:pathLst>
          </a:custGeom>
        </p:spPr>
      </p:pic>
      <p:pic>
        <p:nvPicPr>
          <p:cNvPr id="5" name="Picture 4" descr="A black background with red text&#10;&#10;Description automatically generated">
            <a:extLst>
              <a:ext uri="{FF2B5EF4-FFF2-40B4-BE49-F238E27FC236}">
                <a16:creationId xmlns:a16="http://schemas.microsoft.com/office/drawing/2014/main" id="{4B0092C6-9173-26E5-8025-383FAE89359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7689" y="344925"/>
            <a:ext cx="2326866" cy="8265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EDFA2C2-BC7E-E158-8612-DA3243A2B69F}"/>
              </a:ext>
            </a:extLst>
          </p:cNvPr>
          <p:cNvSpPr txBox="1"/>
          <p:nvPr/>
        </p:nvSpPr>
        <p:spPr>
          <a:xfrm>
            <a:off x="5401304" y="2579825"/>
            <a:ext cx="6126421" cy="5909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lnSpc>
                <a:spcPct val="90000"/>
              </a:lnSpc>
              <a:spcBef>
                <a:spcPts val="300"/>
              </a:spcBef>
              <a:buClr>
                <a:srgbClr val="FFFFFF"/>
              </a:buClr>
              <a:buSzPct val="100000"/>
              <a:defRPr/>
            </a:pPr>
            <a:r>
              <a:rPr lang="en-US" sz="3600" b="1" dirty="0">
                <a:solidFill>
                  <a:srgbClr val="000000"/>
                </a:solidFill>
                <a:latin typeface="Arial"/>
              </a:rPr>
              <a:t>Priority Requests Template</a:t>
            </a:r>
            <a:endParaRPr lang="en-US" sz="3600" b="1" baseline="-2500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B0002D6-2925-472D-0CFD-3AECD38B3AD5}"/>
              </a:ext>
            </a:extLst>
          </p:cNvPr>
          <p:cNvCxnSpPr>
            <a:cxnSpLocks/>
          </p:cNvCxnSpPr>
          <p:nvPr/>
        </p:nvCxnSpPr>
        <p:spPr>
          <a:xfrm flipH="1">
            <a:off x="6654771" y="3587395"/>
            <a:ext cx="3232683" cy="0"/>
          </a:xfrm>
          <a:prstGeom prst="line">
            <a:avLst/>
          </a:prstGeom>
          <a:noFill/>
          <a:ln w="19050" cap="flat" cmpd="sng" algn="ctr">
            <a:solidFill>
              <a:srgbClr val="4CAE9B"/>
            </a:solidFill>
            <a:prstDash val="solid"/>
            <a:miter lim="800000"/>
          </a:ln>
          <a:effectLst/>
        </p:spPr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7542B88-D12A-4D01-ADC5-85768AA9E194}"/>
              </a:ext>
            </a:extLst>
          </p:cNvPr>
          <p:cNvSpPr txBox="1"/>
          <p:nvPr/>
        </p:nvSpPr>
        <p:spPr>
          <a:xfrm>
            <a:off x="7882859" y="4187559"/>
            <a:ext cx="9540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July 2025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6919802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9D9022-82F7-BAF0-28F6-CC7270B562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53F8F78-8113-7248-6656-02CC961F6A9B}"/>
              </a:ext>
            </a:extLst>
          </p:cNvPr>
          <p:cNvSpPr txBox="1">
            <a:spLocks/>
          </p:cNvSpPr>
          <p:nvPr/>
        </p:nvSpPr>
        <p:spPr>
          <a:xfrm>
            <a:off x="300038" y="195889"/>
            <a:ext cx="10647692" cy="235102"/>
          </a:xfrm>
          <a:prstGeom prst="rect">
            <a:avLst/>
          </a:prstGeom>
          <a:ln>
            <a:noFill/>
          </a:ln>
        </p:spPr>
        <p:txBody>
          <a:bodyPr vert="horz" l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200" b="1" kern="1200">
                <a:solidFill>
                  <a:srgbClr val="FFC000"/>
                </a:solidFill>
                <a:latin typeface="+mj-lt"/>
                <a:ea typeface="+mj-ea"/>
                <a:cs typeface="Janna LT Bold" panose="01000000000000000000" pitchFamily="2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E" sz="1200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j-ea"/>
                <a:cs typeface="Janna LT Bold" panose="01000000000000000000" pitchFamily="2" charset="-78"/>
              </a:rPr>
              <a:t>Executive Priority Requests</a:t>
            </a:r>
            <a:endParaRPr kumimoji="0" lang="en-AE" sz="12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/>
              <a:ea typeface="+mj-ea"/>
              <a:cs typeface="Janna LT Bold" panose="01000000000000000000" pitchFamily="2" charset="-78"/>
            </a:endParaRP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5A0FB79C-09C9-34E7-78DE-BF9A0F58DBF3}"/>
              </a:ext>
            </a:extLst>
          </p:cNvPr>
          <p:cNvSpPr txBox="1">
            <a:spLocks/>
          </p:cNvSpPr>
          <p:nvPr/>
        </p:nvSpPr>
        <p:spPr>
          <a:xfrm>
            <a:off x="300036" y="439215"/>
            <a:ext cx="11590337" cy="314325"/>
          </a:xfrm>
          <a:prstGeom prst="rect">
            <a:avLst/>
          </a:prstGeom>
        </p:spPr>
        <p:txBody>
          <a:bodyPr lIns="0" t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nicipal Services Sector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766F8D8F-100A-D1E7-2E22-6932513346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1045233"/>
              </p:ext>
            </p:extLst>
          </p:nvPr>
        </p:nvGraphicFramePr>
        <p:xfrm>
          <a:off x="300035" y="761765"/>
          <a:ext cx="11719511" cy="5502510"/>
        </p:xfrm>
        <a:graphic>
          <a:graphicData uri="http://schemas.openxmlformats.org/drawingml/2006/table">
            <a:tbl>
              <a:tblPr firstRow="1" bandRow="1"/>
              <a:tblGrid>
                <a:gridCol w="354333">
                  <a:extLst>
                    <a:ext uri="{9D8B030D-6E8A-4147-A177-3AD203B41FA5}">
                      <a16:colId xmlns:a16="http://schemas.microsoft.com/office/drawing/2014/main" val="3693319755"/>
                    </a:ext>
                  </a:extLst>
                </a:gridCol>
                <a:gridCol w="6673136">
                  <a:extLst>
                    <a:ext uri="{9D8B030D-6E8A-4147-A177-3AD203B41FA5}">
                      <a16:colId xmlns:a16="http://schemas.microsoft.com/office/drawing/2014/main" val="2063660725"/>
                    </a:ext>
                  </a:extLst>
                </a:gridCol>
                <a:gridCol w="1087473">
                  <a:extLst>
                    <a:ext uri="{9D8B030D-6E8A-4147-A177-3AD203B41FA5}">
                      <a16:colId xmlns:a16="http://schemas.microsoft.com/office/drawing/2014/main" val="3208299816"/>
                    </a:ext>
                  </a:extLst>
                </a:gridCol>
                <a:gridCol w="1201523">
                  <a:extLst>
                    <a:ext uri="{9D8B030D-6E8A-4147-A177-3AD203B41FA5}">
                      <a16:colId xmlns:a16="http://schemas.microsoft.com/office/drawing/2014/main" val="895483913"/>
                    </a:ext>
                  </a:extLst>
                </a:gridCol>
                <a:gridCol w="1201523">
                  <a:extLst>
                    <a:ext uri="{9D8B030D-6E8A-4147-A177-3AD203B41FA5}">
                      <a16:colId xmlns:a16="http://schemas.microsoft.com/office/drawing/2014/main" val="1236367403"/>
                    </a:ext>
                  </a:extLst>
                </a:gridCol>
                <a:gridCol w="1201523">
                  <a:extLst>
                    <a:ext uri="{9D8B030D-6E8A-4147-A177-3AD203B41FA5}">
                      <a16:colId xmlns:a16="http://schemas.microsoft.com/office/drawing/2014/main" val="882322404"/>
                    </a:ext>
                  </a:extLst>
                </a:gridCol>
              </a:tblGrid>
              <a:tr h="4421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AE" sz="1200" dirty="0"/>
                        <a:t>#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AE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nitiatives and expected outcomes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AE" sz="1200" dirty="0"/>
                        <a:t>Weight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AE" sz="1200" dirty="0"/>
                        <a:t>Deadlin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latin typeface="Arial"/>
                          <a:ea typeface="+mn-ea"/>
                          <a:cs typeface="+mn-cs"/>
                        </a:rPr>
                        <a:t>Actual Achieved 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1" kern="1200" dirty="0">
                          <a:solidFill>
                            <a:schemeClr val="lt1"/>
                          </a:solidFill>
                          <a:latin typeface="Arial"/>
                          <a:ea typeface="+mn-ea"/>
                          <a:cs typeface="+mn-cs"/>
                        </a:rPr>
                        <a:t>Next Mileston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5753851"/>
                  </a:ext>
                </a:extLst>
              </a:tr>
              <a:tr h="4996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i="1" dirty="0">
                          <a:latin typeface="Arial Body"/>
                        </a:rPr>
                        <a:t>1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US" sz="1400" b="1" dirty="0"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Hidden business risks identification: </a:t>
                      </a:r>
                      <a:r>
                        <a:rPr lang="en-US" sz="1400" dirty="0"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Conduct a cross-sector assessment to identify hidden business risks and undocumented practices, ensuring full city coverage and alignment with established functional mandates</a:t>
                      </a: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400" b="0" i="0" u="none" strike="noStrike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~14% </a:t>
                      </a: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Q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9832582"/>
                  </a:ext>
                </a:extLst>
              </a:tr>
              <a:tr h="26530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AE" sz="1200" i="1" dirty="0">
                          <a:latin typeface="Arial Body"/>
                        </a:rPr>
                        <a:t>2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ublic health risk mitigation: </a:t>
                      </a:r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ssess current coverage and identify risks, and develop a mitigation plan</a:t>
                      </a: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GB" sz="1400" kern="1200">
                          <a:solidFill>
                            <a:schemeClr val="tx1"/>
                          </a:solidFill>
                          <a:latin typeface="Sakkal Majalla" panose="02000000000000000000" pitchFamily="2" charset="-78"/>
                          <a:ea typeface="+mn-ea"/>
                          <a:cs typeface="Sakkal Majalla" panose="02000000000000000000" pitchFamily="2" charset="-78"/>
                        </a:rPr>
                        <a:t>~14% </a:t>
                      </a:r>
                      <a:endParaRPr lang="en-GB" sz="1400" kern="1200" dirty="0">
                        <a:solidFill>
                          <a:schemeClr val="tx1"/>
                        </a:solidFill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Q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9987799"/>
                  </a:ext>
                </a:extLst>
              </a:tr>
              <a:tr h="4996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AE" sz="1200" i="1" dirty="0">
                          <a:latin typeface="Arial Body"/>
                        </a:rPr>
                        <a:t>3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HSE coverage assessment: </a:t>
                      </a:r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ssess HSE inspection coverage gaps and develop feasible solutions to address critical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concerns</a:t>
                      </a: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GB" sz="1400" kern="1200" dirty="0">
                          <a:solidFill>
                            <a:schemeClr val="tx1"/>
                          </a:solidFill>
                          <a:latin typeface="Sakkal Majalla" panose="02000000000000000000" pitchFamily="2" charset="-78"/>
                          <a:ea typeface="+mn-ea"/>
                          <a:cs typeface="Sakkal Majalla" panose="02000000000000000000" pitchFamily="2" charset="-78"/>
                        </a:rPr>
                        <a:t>~14% 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Q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4207236"/>
                  </a:ext>
                </a:extLst>
              </a:tr>
              <a:tr h="4996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AE" sz="1200" i="1" dirty="0">
                          <a:latin typeface="Arial Body"/>
                        </a:rPr>
                        <a:t>4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</a:t>
                      </a: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Full activation of public cleanliness program: </a:t>
                      </a:r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Ensure the complete rollout and operationalization of the public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cleanliness program</a:t>
                      </a: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GB" sz="1400" kern="1200">
                          <a:solidFill>
                            <a:schemeClr val="tx1"/>
                          </a:solidFill>
                          <a:latin typeface="Sakkal Majalla" panose="02000000000000000000" pitchFamily="2" charset="-78"/>
                          <a:ea typeface="+mn-ea"/>
                          <a:cs typeface="Sakkal Majalla" panose="02000000000000000000" pitchFamily="2" charset="-78"/>
                        </a:rPr>
                        <a:t>~9%</a:t>
                      </a:r>
                      <a:endParaRPr lang="en-GB" sz="1400" kern="1200" dirty="0">
                        <a:solidFill>
                          <a:schemeClr val="tx1"/>
                        </a:solidFill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Q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013383"/>
                  </a:ext>
                </a:extLst>
              </a:tr>
              <a:tr h="4996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AE" sz="1200" i="1" dirty="0">
                          <a:latin typeface="Arial Body"/>
                        </a:rPr>
                        <a:t>5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et-friendly </a:t>
                      </a:r>
                      <a:r>
                        <a:rPr lang="en-US" sz="14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neighbourhood</a:t>
                      </a: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planning: </a:t>
                      </a:r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Develop an action plan for 3 </a:t>
                      </a:r>
                      <a:r>
                        <a:rPr lang="en-US" sz="14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neighbourhoods</a:t>
                      </a:r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to be pet friendly (aligned with </a:t>
                      </a:r>
                    </a:p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lanning and Mobility)</a:t>
                      </a: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GB" sz="1400" kern="1200">
                          <a:solidFill>
                            <a:schemeClr val="tx1"/>
                          </a:solidFill>
                          <a:latin typeface="Sakkal Majalla" panose="02000000000000000000" pitchFamily="2" charset="-78"/>
                          <a:ea typeface="+mn-ea"/>
                          <a:cs typeface="Sakkal Majalla" panose="02000000000000000000" pitchFamily="2" charset="-78"/>
                        </a:rPr>
                        <a:t>~9%</a:t>
                      </a:r>
                      <a:endParaRPr lang="en-GB" sz="1400" kern="1200" dirty="0">
                        <a:solidFill>
                          <a:schemeClr val="tx1"/>
                        </a:solidFill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Q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606290"/>
                  </a:ext>
                </a:extLst>
              </a:tr>
              <a:tr h="4996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AE" sz="1200" i="1" dirty="0">
                          <a:latin typeface="Arial Body"/>
                        </a:rPr>
                        <a:t>6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Inspection process optimization: </a:t>
                      </a:r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Strengthen inspection processes by adopting advanced tools, streamlining workflows, </a:t>
                      </a:r>
                    </a:p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nd enhancing data accuracy </a:t>
                      </a: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ea typeface="+mn-ea"/>
                          <a:cs typeface="Sakkal Majalla" panose="02000000000000000000" pitchFamily="2" charset="-78"/>
                        </a:rPr>
                        <a:t>~9%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Q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9839319"/>
                  </a:ext>
                </a:extLst>
              </a:tr>
              <a:tr h="4996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AE" sz="1200" i="1" dirty="0">
                          <a:latin typeface="Arial Body"/>
                        </a:rPr>
                        <a:t>7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Ranch coverage assessment: </a:t>
                      </a:r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Identify gaps in coverage, detect unauthorized usage, and highlight key concerns related </a:t>
                      </a:r>
                    </a:p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to ranch management</a:t>
                      </a: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ea typeface="+mn-ea"/>
                          <a:cs typeface="Sakkal Majalla" panose="02000000000000000000" pitchFamily="2" charset="-78"/>
                        </a:rPr>
                        <a:t>~9%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Q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0794952"/>
                  </a:ext>
                </a:extLst>
              </a:tr>
              <a:tr h="4996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AE" sz="1200" i="1" dirty="0">
                          <a:latin typeface="Arial Body"/>
                        </a:rPr>
                        <a:t>8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Ranch revenue generation: </a:t>
                      </a:r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Explore and design programs to generate income from ranch areas by leveraging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underutilized land, ensuring alignment with regulatory and sustainability objectives</a:t>
                      </a: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ea typeface="+mn-ea"/>
                          <a:cs typeface="Sakkal Majalla" panose="02000000000000000000" pitchFamily="2" charset="-78"/>
                        </a:rPr>
                        <a:t>~9%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Q4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4856982"/>
                  </a:ext>
                </a:extLst>
              </a:tr>
              <a:tr h="4996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AE" sz="1200" i="1" dirty="0">
                          <a:latin typeface="Arial Body"/>
                        </a:rPr>
                        <a:t>9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ublic cleanliness enhancement: </a:t>
                      </a:r>
                      <a:r>
                        <a:rPr lang="en-US" sz="1400" dirty="0"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Assess key challenges and identify actionable improvements to optimize processes,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resource use and service quality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akkal Majalla" panose="02000000000000000000" pitchFamily="2" charset="-78"/>
                          <a:ea typeface="+mn-ea"/>
                          <a:cs typeface="Sakkal Majalla" panose="02000000000000000000" pitchFamily="2" charset="-78"/>
                        </a:rPr>
                        <a:t>~9%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Q4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23303"/>
                  </a:ext>
                </a:extLst>
              </a:tr>
              <a:tr h="4996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AE" sz="1200" i="1" dirty="0">
                          <a:latin typeface="Arial Body"/>
                        </a:rPr>
                        <a:t>10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Stray animal population control: </a:t>
                      </a:r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Reduce in the stray cat and dog population enhancing city image (sterilization, </a:t>
                      </a:r>
                    </a:p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impounding, enforcement against abandonment) in alignment with targets set by DMT</a:t>
                      </a: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1400" dirty="0"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~5%</a:t>
                      </a:r>
                      <a:endParaRPr lang="en-GB" sz="1400" kern="1200" dirty="0">
                        <a:solidFill>
                          <a:schemeClr val="tx1"/>
                        </a:solidFill>
                        <a:latin typeface="Sakkal Majalla" panose="02000000000000000000" pitchFamily="2" charset="-78"/>
                        <a:ea typeface="+mn-ea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Q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444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7765842"/>
                  </a:ext>
                </a:extLst>
              </a:tr>
              <a:tr h="26530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AE" sz="1200" i="1" dirty="0">
                        <a:latin typeface="Arial Body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BEC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BEC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Sakkal Majalla" panose="02000000000000000000" pitchFamily="2" charset="-78"/>
                          <a:ea typeface="+mn-ea"/>
                          <a:cs typeface="Sakkal Majalla" panose="02000000000000000000" pitchFamily="2" charset="-78"/>
                        </a:rPr>
                        <a:t>100%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BEC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BE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BE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BE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8339266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91544C1A-A160-BA77-4BFF-D889833FE17F}"/>
              </a:ext>
            </a:extLst>
          </p:cNvPr>
          <p:cNvSpPr txBox="1"/>
          <p:nvPr/>
        </p:nvSpPr>
        <p:spPr>
          <a:xfrm>
            <a:off x="3160401" y="6231224"/>
            <a:ext cx="60002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AE" sz="1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ملاحظة: يرجى تحديد الاولويات التي يتطلب مناقشتها و التركيز عليها مع سعادة المدير العام</a:t>
            </a:r>
            <a:endParaRPr kumimoji="0" lang="en-AE" sz="1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Please identify the priorities that require discussion and focus with the GM</a:t>
            </a:r>
            <a:endParaRPr kumimoji="0" lang="en-AE" sz="1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03857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8341960|-3468525|-2064878|-9539986|Markido&quot;,&quot;Id&quot;:&quot;64cbd29946433132e0397f0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AHMED YAS">
      <a:dk1>
        <a:srgbClr val="000000"/>
      </a:dk1>
      <a:lt1>
        <a:srgbClr val="FFFFFF"/>
      </a:lt1>
      <a:dk2>
        <a:srgbClr val="2E323C"/>
      </a:dk2>
      <a:lt2>
        <a:srgbClr val="EEEEED"/>
      </a:lt2>
      <a:accent1>
        <a:srgbClr val="56C098"/>
      </a:accent1>
      <a:accent2>
        <a:srgbClr val="4CAE9B"/>
      </a:accent2>
      <a:accent3>
        <a:srgbClr val="419C9E"/>
      </a:accent3>
      <a:accent4>
        <a:srgbClr val="378BA0"/>
      </a:accent4>
      <a:accent5>
        <a:srgbClr val="2C79A3"/>
      </a:accent5>
      <a:accent6>
        <a:srgbClr val="2267A6"/>
      </a:accent6>
      <a:hlink>
        <a:srgbClr val="000000"/>
      </a:hlink>
      <a:folHlink>
        <a:srgbClr val="0097A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MT Template_Light layout">
  <a:themeElements>
    <a:clrScheme name="Vanilla">
      <a:dk1>
        <a:srgbClr val="000000"/>
      </a:dk1>
      <a:lt1>
        <a:srgbClr val="FFFFFF"/>
      </a:lt1>
      <a:dk2>
        <a:srgbClr val="00232E"/>
      </a:dk2>
      <a:lt2>
        <a:srgbClr val="FFFFFF"/>
      </a:lt2>
      <a:accent1>
        <a:srgbClr val="0079A4"/>
      </a:accent1>
      <a:accent2>
        <a:srgbClr val="2FC9FF"/>
      </a:accent2>
      <a:accent3>
        <a:srgbClr val="686868"/>
      </a:accent3>
      <a:accent4>
        <a:srgbClr val="CBCBCB"/>
      </a:accent4>
      <a:accent5>
        <a:srgbClr val="455A81"/>
      </a:accent5>
      <a:accent6>
        <a:srgbClr val="8096B2"/>
      </a:accent6>
      <a:hlink>
        <a:srgbClr val="515151"/>
      </a:hlink>
      <a:folHlink>
        <a:srgbClr val="CBCBCB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Vanilla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  <a:miter lim="800000"/>
        </a:ln>
      </a:spPr>
      <a:bodyPr lIns="73152" tIns="73152" rIns="73152" bIns="73152" rtlCol="0" anchor="ctr"/>
      <a:lstStyle>
        <a:defPPr algn="ctr">
          <a:defRPr sz="14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400" kern="0" dirty="0" err="1" smtClean="0"/>
        </a:defPPr>
      </a:lstStyle>
    </a:txDef>
  </a:objectDefaults>
  <a:extraClrSchemeLst/>
  <a:custClrLst>
    <a:custClr name="Teal Dark">
      <a:srgbClr val="003A48"/>
    </a:custClr>
    <a:custClr name="Teal Medium">
      <a:srgbClr val="005F74"/>
    </a:custClr>
    <a:custClr name="Teal">
      <a:srgbClr val="007899"/>
    </a:custClr>
    <a:custClr name="Teal Light">
      <a:srgbClr val="009EB4"/>
    </a:custClr>
    <a:custClr name="Gray Dark">
      <a:srgbClr val="383838"/>
    </a:custClr>
    <a:custClr name="Gray Medium">
      <a:srgbClr val="515151"/>
    </a:custClr>
    <a:custClr name="Gray">
      <a:srgbClr val="949494"/>
    </a:custClr>
    <a:custClr name="Gray Light">
      <a:srgbClr val="CBCBCB"/>
    </a:custClr>
    <a:custClr name="Blumine Dark">
      <a:srgbClr val="28354C"/>
    </a:custClr>
    <a:custClr name="Blumine Med">
      <a:srgbClr val="455A81"/>
    </a:custClr>
    <a:custClr name="Blumine">
      <a:srgbClr val="8096B2"/>
    </a:custClr>
    <a:custClr name="Blumine Light">
      <a:srgbClr val="BED3E4"/>
    </a:custClr>
    <a:custClr name="Cool Gray Dark">
      <a:srgbClr val="48565C"/>
    </a:custClr>
    <a:custClr name="Cool Gray Medium">
      <a:srgbClr val="778D95"/>
    </a:custClr>
    <a:custClr name="Cool Gray">
      <a:srgbClr val="A3B2B7"/>
    </a:custClr>
    <a:custClr name="Cool Gray Light">
      <a:srgbClr val="CED5D8"/>
    </a:custClr>
    <a:custClr name="Brick Red Dark">
      <a:srgbClr val="572C1F"/>
    </a:custClr>
    <a:custClr name="Brick Red">
      <a:srgbClr val="8C4933"/>
    </a:custClr>
    <a:custClr name="Brick Red Light">
      <a:srgbClr val="D59D8B"/>
    </a:custClr>
    <a:custClr name="Goldenrod Dark">
      <a:srgbClr val="968840"/>
    </a:custClr>
    <a:custClr name="Goldenrod">
      <a:srgbClr val="BBAC5F"/>
    </a:custClr>
    <a:custClr name="Goldenrod Light">
      <a:srgbClr val="DCD4AE"/>
    </a:custClr>
    <a:custClr name="Green Dark">
      <a:srgbClr val="2D712D"/>
    </a:custClr>
    <a:custClr name="Green Medium">
      <a:srgbClr val="41A441"/>
    </a:custClr>
    <a:custClr name="Green Light">
      <a:srgbClr val="ABDDAB"/>
    </a:custClr>
    <a:custClr name="Red">
      <a:srgbClr val="C00000"/>
    </a:custClr>
    <a:custClr name="Yellow">
      <a:srgbClr val="FFB800"/>
    </a:custClr>
    <a:custClr name="Green">
      <a:srgbClr val="41A441"/>
    </a:custClr>
  </a:custClrLst>
  <a:extLst>
    <a:ext uri="{05A4C25C-085E-4340-85A3-A5531E510DB2}">
      <thm15:themeFamily xmlns:thm15="http://schemas.microsoft.com/office/thememl/2012/main" name="Presentation1" id="{A5607BA1-3BF3-4723-8B95-F944E7CB0CD8}" vid="{2866F1E6-D485-4CB0-8812-4494240584F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fe8fa5e3-d385-4a70-ba9c-17b9cfa7f32e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0F4896BA9F71648A70A3E0DD3C62EB4" ma:contentTypeVersion="15" ma:contentTypeDescription="Create a new document." ma:contentTypeScope="" ma:versionID="47d07023df8c504a2ae556321c6fc062">
  <xsd:schema xmlns:xsd="http://www.w3.org/2001/XMLSchema" xmlns:xs="http://www.w3.org/2001/XMLSchema" xmlns:p="http://schemas.microsoft.com/office/2006/metadata/properties" xmlns:ns3="fe8fa5e3-d385-4a70-ba9c-17b9cfa7f32e" xmlns:ns4="1b1bfd6c-04ad-4d81-87f9-a0ebb485d633" targetNamespace="http://schemas.microsoft.com/office/2006/metadata/properties" ma:root="true" ma:fieldsID="778637717635de3774fa0f8ba72c7a93" ns3:_="" ns4:_="">
    <xsd:import namespace="fe8fa5e3-d385-4a70-ba9c-17b9cfa7f32e"/>
    <xsd:import namespace="1b1bfd6c-04ad-4d81-87f9-a0ebb485d63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MediaLengthInSeconds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8fa5e3-d385-4a70-ba9c-17b9cfa7f32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1bfd6c-04ad-4d81-87f9-a0ebb485d63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AABC79D-3BD9-4364-A8A1-F260A1FAF91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E9BD153-BE12-43D0-96CE-EB5651D2FCCA}">
  <ds:schemaRefs>
    <ds:schemaRef ds:uri="1b1bfd6c-04ad-4d81-87f9-a0ebb485d633"/>
    <ds:schemaRef ds:uri="http://schemas.microsoft.com/office/2006/metadata/properties"/>
    <ds:schemaRef ds:uri="fe8fa5e3-d385-4a70-ba9c-17b9cfa7f32e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55EE008F-5F98-4765-9C92-4AB704A8B10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e8fa5e3-d385-4a70-ba9c-17b9cfa7f32e"/>
    <ds:schemaRef ds:uri="1b1bfd6c-04ad-4d81-87f9-a0ebb485d6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293</TotalTime>
  <Words>325</Words>
  <Application>Microsoft Office PowerPoint</Application>
  <PresentationFormat>Widescreen</PresentationFormat>
  <Paragraphs>61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4" baseType="lpstr">
      <vt:lpstr>Arial</vt:lpstr>
      <vt:lpstr>Arial Body</vt:lpstr>
      <vt:lpstr>Avenir</vt:lpstr>
      <vt:lpstr>Avenir Book</vt:lpstr>
      <vt:lpstr>Calibri</vt:lpstr>
      <vt:lpstr>Calibri Light</vt:lpstr>
      <vt:lpstr>Dubai</vt:lpstr>
      <vt:lpstr>Janna LT (Body)</vt:lpstr>
      <vt:lpstr>Sakkal Majalla</vt:lpstr>
      <vt:lpstr>3_Office Theme</vt:lpstr>
      <vt:lpstr>DMT Template_Light layout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dulaziz Almualla</dc:creator>
  <cp:lastModifiedBy>Nawal Ali Sanad Ali Alhamadi</cp:lastModifiedBy>
  <cp:revision>445</cp:revision>
  <dcterms:created xsi:type="dcterms:W3CDTF">2023-01-17T05:15:06Z</dcterms:created>
  <dcterms:modified xsi:type="dcterms:W3CDTF">2025-07-25T08:31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0F4896BA9F71648A70A3E0DD3C62EB4</vt:lpwstr>
  </property>
</Properties>
</file>